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av" ContentType="audio/x-wav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8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9.xml" ContentType="application/vnd.openxmlformats-officedocument.theme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10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69" r:id="rId11"/>
    <p:sldMasterId id="2147483655" r:id="rId12"/>
    <p:sldMasterId id="2147484047" r:id="rId13"/>
    <p:sldMasterId id="2147484072" r:id="rId14"/>
  </p:sldMasterIdLst>
  <p:notesMasterIdLst>
    <p:notesMasterId r:id="rId32"/>
  </p:notesMasterIdLst>
  <p:sldIdLst>
    <p:sldId id="2147477632" r:id="rId15"/>
    <p:sldId id="2147477596" r:id="rId16"/>
    <p:sldId id="2147477634" r:id="rId17"/>
    <p:sldId id="2147477635" r:id="rId18"/>
    <p:sldId id="2147375763" r:id="rId19"/>
    <p:sldId id="2147477577" r:id="rId20"/>
    <p:sldId id="2147477655" r:id="rId21"/>
    <p:sldId id="2147477651" r:id="rId22"/>
    <p:sldId id="2147477647" r:id="rId23"/>
    <p:sldId id="2147477656" r:id="rId24"/>
    <p:sldId id="2147477661" r:id="rId25"/>
    <p:sldId id="2147477649" r:id="rId26"/>
    <p:sldId id="2147477627" r:id="rId27"/>
    <p:sldId id="2147477657" r:id="rId28"/>
    <p:sldId id="2147477663" r:id="rId29"/>
    <p:sldId id="2147477662" r:id="rId30"/>
    <p:sldId id="2147477666" r:id="rId3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FF8A20"/>
    <a:srgbClr val="FFC000"/>
    <a:srgbClr val="FF5D37"/>
    <a:srgbClr val="DE6C15"/>
    <a:srgbClr val="F14A56"/>
    <a:srgbClr val="0066AC"/>
    <a:srgbClr val="EEEAF0"/>
    <a:srgbClr val="F6F6F6"/>
    <a:srgbClr val="E704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508186-3F70-4856-B313-8A3913568E5C}" v="1" dt="2024-11-05T22:28:50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13"/>
  </p:normalViewPr>
  <p:slideViewPr>
    <p:cSldViewPr snapToGrid="0">
      <p:cViewPr varScale="1">
        <p:scale>
          <a:sx n="108" d="100"/>
          <a:sy n="108" d="100"/>
        </p:scale>
        <p:origin x="73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4544567441577441E-3"/>
                  <c:y val="2.2921050764901925E-2"/>
                </c:manualLayout>
              </c:layout>
              <c:tx>
                <c:rich>
                  <a:bodyPr/>
                  <a:lstStyle/>
                  <a:p>
                    <a:fld id="{A8B6ADC7-A62D-7147-9C6C-CED859B7EB0C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686E481A-4D7C-474E-82F6-D9627F18E7C4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96443637096456E-3"/>
                  <c:y val="6.7457971768377749E-3"/>
                </c:manualLayout>
              </c:layout>
              <c:tx>
                <c:rich>
                  <a:bodyPr/>
                  <a:lstStyle/>
                  <a:p>
                    <a:fld id="{C52A0B24-1190-8A40-8EC4-7DA9679E115E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fld id="{1C67011A-C290-664C-A2DA-80CC9844B973}" type="VALUE">
                      <a:rPr lang="en-US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3.4407384740658862E-17"/>
                </c:manualLayout>
              </c:layout>
              <c:tx>
                <c:rich>
                  <a:bodyPr/>
                  <a:lstStyle/>
                  <a:p>
                    <a:fld id="{9532F9C6-7C30-C642-B7A1-09F3593397A0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5CC97901-0D28-EF47-ACA1-6F650D24E2C9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BE4-1846-8BBD-8C19D8E793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5889644785185486E-3"/>
                  <c:y val="7.9067457971768382E-3"/>
                </c:manualLayout>
              </c:layout>
              <c:tx>
                <c:rich>
                  <a:bodyPr/>
                  <a:lstStyle/>
                  <a:p>
                    <a:fld id="{6AF12367-192C-9142-872D-35C0FE3C172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4712C39C-F46E-584C-B31A-98D2FB6C33EE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350604538708645E-3"/>
                  <c:y val="6.7457971768377055E-3"/>
                </c:manualLayout>
              </c:layout>
              <c:tx>
                <c:rich>
                  <a:bodyPr/>
                  <a:lstStyle/>
                  <a:p>
                    <a:fld id="{847CAE01-B6EA-1049-A594-BFDC3205BA9D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D34CE4B2-8695-5348-9188-9F39A159B97B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8360299878665202E-2"/>
                  <c:y val="-3.4407384740658862E-17"/>
                </c:manualLayout>
              </c:layout>
              <c:tx>
                <c:rich>
                  <a:bodyPr/>
                  <a:lstStyle/>
                  <a:p>
                    <a:fld id="{1621F893-A92A-BD4A-B1BF-0856F155ACA6}" type="SERIESNAME">
                      <a:rPr lang="en-US" smtClean="0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D558AD8A-27DD-E147-8485-EE89CD2CE19E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19B-7842-AB49-E1AEA54800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801323545791022E-3"/>
                  <c:y val="-7.1075591705483179E-3"/>
                </c:manualLayout>
              </c:layout>
              <c:tx>
                <c:rich>
                  <a:bodyPr/>
                  <a:lstStyle/>
                  <a:p>
                    <a:fld id="{0B29F3E8-D7FF-F249-99A3-4BD1182F3B5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AD69384F-DF82-7D41-BEEC-DB9B426901EF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4969370429534124E-2"/>
                  <c:y val="-8.2685077908873812E-3"/>
                </c:manualLayout>
              </c:layout>
              <c:tx>
                <c:rich>
                  <a:bodyPr/>
                  <a:lstStyle/>
                  <a:p>
                    <a:fld id="{55193C73-E5F7-D84B-87C5-4C982826536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fld id="{5D812C0E-CE91-1347-ACBD-2F07907E4603}" type="VALUE">
                      <a:rPr lang="en-US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 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1D93D34-BCF4-E34C-9423-9FB049F5DC5D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03CCECF9-37F6-6E43-95DE-9C95409E6AB7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B60-3648-BD07-DF450C2B20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D4-4579-B360-95CFFA9BF68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D4-4579-B360-95CFFA9BF68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D4-4579-B360-95CFFA9BF68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D4-4579-B360-95CFFA9BF68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D4-4579-B360-95CFFA9BF68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953874912111E-3"/>
                  <c:y val="-2.2121864138273474E-2"/>
                </c:manualLayout>
              </c:layout>
              <c:tx>
                <c:rich>
                  <a:bodyPr/>
                  <a:lstStyle/>
                  <a:p>
                    <a:fld id="{8AA992F2-399C-5E48-A868-123DC99504B1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65BE1DCD-3202-9047-AC09-68194FA37730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1BD4-4579-B360-95CFFA9BF68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1BD4-4579-B360-95CFFA9BF68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tx>
                <c:rich>
                  <a:bodyPr/>
                  <a:lstStyle/>
                  <a:p>
                    <a:fld id="{185AE21B-1692-D946-85FC-60C0DA354A93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74DABB95-E53D-E849-88BD-3B5DF73A68A7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1BD4-4579-B360-95CFFA9BF68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D76718E-3475-B848-AED0-7C3380375E99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0F5EEC02-8D32-6140-B140-5141922CA56C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618-9944-84B8-21990CB66C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BD4-4579-B360-95CFFA9BF68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BD4-4579-B360-95CFFA9BF6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83-45E6-84B0-7A19C98A0DA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83-45E6-84B0-7A19C98A0DA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83-45E6-84B0-7A19C98A0DA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83-45E6-84B0-7A19C98A0DA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83-45E6-84B0-7A19C98A0DA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3283-45E6-84B0-7A19C98A0DA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283-45E6-84B0-7A19C98A0DA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283-45E6-84B0-7A19C98A0DA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3283-45E6-84B0-7A19C98A0DA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283-45E6-84B0-7A19C98A0D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95-9445-955E-51C407C3B283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95-9445-955E-51C407C3B283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95-9445-955E-51C407C3B283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95-9445-955E-51C407C3B283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95-9445-955E-51C407C3B283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E95-9445-955E-51C407C3B2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2E95-9445-955E-51C407C3B283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95-9445-955E-51C407C3B2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2E95-9445-955E-51C407C3B283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E95-9445-955E-51C407C3B283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2E95-9445-955E-51C407C3B283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E95-9445-955E-51C407C3B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6-544C-8869-D62C9AF412A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F6-544C-8869-D62C9AF412A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F6-544C-8869-D62C9AF412A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F6-544C-8869-D62C9AF412A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F6-544C-8869-D62C9AF412A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F6-544C-8869-D62C9AF412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5AF6-544C-8869-D62C9AF412A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AF6-544C-8869-D62C9AF412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5AF6-544C-8869-D62C9AF412A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AF6-544C-8869-D62C9AF412A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5AF6-544C-8869-D62C9AF412A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AF6-544C-8869-D62C9AF41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abcin GT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_-* #,##0_-;\-* #,##0_-;_-* "-"??_-;_-@_-</c:formatCode>
                <c:ptCount val="12"/>
                <c:pt idx="0">
                  <c:v>666.66666666666663</c:v>
                </c:pt>
                <c:pt idx="1">
                  <c:v>666.66666666666663</c:v>
                </c:pt>
                <c:pt idx="2">
                  <c:v>666.66666666666663</c:v>
                </c:pt>
                <c:pt idx="3">
                  <c:v>666.66666666666663</c:v>
                </c:pt>
                <c:pt idx="4">
                  <c:v>666.66666666666663</c:v>
                </c:pt>
                <c:pt idx="5">
                  <c:v>666.66666666666663</c:v>
                </c:pt>
                <c:pt idx="6">
                  <c:v>666.66666666666663</c:v>
                </c:pt>
                <c:pt idx="7">
                  <c:v>666.66666666666663</c:v>
                </c:pt>
                <c:pt idx="8">
                  <c:v>666.66666666666663</c:v>
                </c:pt>
                <c:pt idx="9">
                  <c:v>666.66666666666663</c:v>
                </c:pt>
                <c:pt idx="10">
                  <c:v>666.66666666666663</c:v>
                </c:pt>
                <c:pt idx="11">
                  <c:v>666.66666666666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D3-D340-9A34-0EAC57373BC2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Tabcin Noch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3:$M$3</c:f>
              <c:numCache>
                <c:formatCode>_-* #,##0_-;\-* #,##0_-;_-* "-"??_-;_-@_-</c:formatCode>
                <c:ptCount val="12"/>
                <c:pt idx="0">
                  <c:v>458.33333333333331</c:v>
                </c:pt>
                <c:pt idx="1">
                  <c:v>458.33333333333331</c:v>
                </c:pt>
                <c:pt idx="2">
                  <c:v>458.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D3-D340-9A34-0EAC57373BC2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Tabcin Niños</c:v>
                </c:pt>
              </c:strCache>
            </c:strRef>
          </c:tx>
          <c:spPr>
            <a:ln w="28575" cap="rnd">
              <a:solidFill>
                <a:srgbClr val="FF8A20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D8-6C44-9CDB-7163BA1D9688}"/>
                </c:ext>
              </c:extLst>
            </c:dLbl>
            <c:dLbl>
              <c:idx val="4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D8-6C44-9CDB-7163BA1D9688}"/>
                </c:ext>
              </c:extLst>
            </c:dLbl>
            <c:dLbl>
              <c:idx val="8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D8-6C44-9CDB-7163BA1D96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4:$M$4</c:f>
              <c:numCache>
                <c:formatCode>_-* #,##0_-;\-* #,##0_-;_-* "-"??_-;_-@_-</c:formatCode>
                <c:ptCount val="12"/>
                <c:pt idx="0">
                  <c:v>0</c:v>
                </c:pt>
                <c:pt idx="1">
                  <c:v>550</c:v>
                </c:pt>
                <c:pt idx="2">
                  <c:v>0</c:v>
                </c:pt>
                <c:pt idx="3">
                  <c:v>0</c:v>
                </c:pt>
                <c:pt idx="4">
                  <c:v>55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5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D8-6C44-9CDB-7163BA1D96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68076415"/>
        <c:axId val="1007806399"/>
      </c:lineChart>
      <c:catAx>
        <c:axId val="9680764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1007806399"/>
        <c:crosses val="autoZero"/>
        <c:auto val="1"/>
        <c:lblAlgn val="ctr"/>
        <c:lblOffset val="100"/>
        <c:noMultiLvlLbl val="0"/>
      </c:catAx>
      <c:valAx>
        <c:axId val="1007806399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968076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25/11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D9D3E-ECF5-42A1-827D-6C9E5FE9A802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160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755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84745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80608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28974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56676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4822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03317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1/2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374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70793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60595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8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1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 userDrawn="1"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7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63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54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17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2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9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2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68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rgbClr val="3FCBB6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rgbClr val="3FCBB6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813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3615974-19A0-8642-96FB-52F09E3AFC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11582401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11582401 w 12192000"/>
              <a:gd name="connsiteY3" fmla="*/ 6498000 h 6498000"/>
              <a:gd name="connsiteX4" fmla="*/ 0 w 12192000"/>
              <a:gd name="connsiteY4" fmla="*/ 0 h 6498000"/>
              <a:gd name="connsiteX5" fmla="*/ 6096001 w 12192000"/>
              <a:gd name="connsiteY5" fmla="*/ 0 h 6498000"/>
              <a:gd name="connsiteX6" fmla="*/ 6096001 w 12192000"/>
              <a:gd name="connsiteY6" fmla="*/ 6244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498000">
                <a:moveTo>
                  <a:pt x="11582401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11582401" y="6498000"/>
                </a:lnTo>
                <a:close/>
                <a:moveTo>
                  <a:pt x="0" y="0"/>
                </a:moveTo>
                <a:lnTo>
                  <a:pt x="6096001" y="0"/>
                </a:lnTo>
                <a:lnTo>
                  <a:pt x="6096001" y="624405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9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0822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 userDrawn="1"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8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902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 userDrawn="1"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894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08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52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 userDrawn="1"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 userDrawn="1"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869169B-B7FF-964A-A77F-B06A7C2AA097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0941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 userDrawn="1"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440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 userDrawn="1"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10869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 userDrawn="1"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56417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 userDrawn="1"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421C3BB3-1E20-074F-A332-903786DBD4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2793824" cy="6140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18332CE-4C93-D942-A1E5-334DE95CB86A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2986908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608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ottom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5F44E6D-DF58-2748-AE6C-6DAA18B4BD84}"/>
              </a:ext>
            </a:extLst>
          </p:cNvPr>
          <p:cNvSpPr/>
          <p:nvPr userDrawn="1"/>
        </p:nvSpPr>
        <p:spPr>
          <a:xfrm>
            <a:off x="0" y="0"/>
            <a:ext cx="4246177" cy="6496050"/>
          </a:xfrm>
          <a:prstGeom prst="rect">
            <a:avLst/>
          </a:pr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E169D65-5A2D-8541-8BB9-9C9B64710A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8518" y="3096180"/>
            <a:ext cx="11072296" cy="3399870"/>
          </a:xfrm>
          <a:custGeom>
            <a:avLst/>
            <a:gdLst>
              <a:gd name="connsiteX0" fmla="*/ 5581316 w 11072296"/>
              <a:gd name="connsiteY0" fmla="*/ 0 h 3399870"/>
              <a:gd name="connsiteX1" fmla="*/ 11072296 w 11072296"/>
              <a:gd name="connsiteY1" fmla="*/ 0 h 3399870"/>
              <a:gd name="connsiteX2" fmla="*/ 11072296 w 11072296"/>
              <a:gd name="connsiteY2" fmla="*/ 3399870 h 3399870"/>
              <a:gd name="connsiteX3" fmla="*/ 5581316 w 11072296"/>
              <a:gd name="connsiteY3" fmla="*/ 3399870 h 3399870"/>
              <a:gd name="connsiteX4" fmla="*/ 0 w 11072296"/>
              <a:gd name="connsiteY4" fmla="*/ 0 h 3399870"/>
              <a:gd name="connsiteX5" fmla="*/ 5467018 w 11072296"/>
              <a:gd name="connsiteY5" fmla="*/ 0 h 3399870"/>
              <a:gd name="connsiteX6" fmla="*/ 5467018 w 11072296"/>
              <a:gd name="connsiteY6" fmla="*/ 3399870 h 3399870"/>
              <a:gd name="connsiteX7" fmla="*/ 5219482 w 11072296"/>
              <a:gd name="connsiteY7" fmla="*/ 3399870 h 3399870"/>
              <a:gd name="connsiteX8" fmla="*/ 4967482 w 11072296"/>
              <a:gd name="connsiteY8" fmla="*/ 3147870 h 3399870"/>
              <a:gd name="connsiteX9" fmla="*/ 4715482 w 11072296"/>
              <a:gd name="connsiteY9" fmla="*/ 3399870 h 3399870"/>
              <a:gd name="connsiteX10" fmla="*/ 0 w 11072296"/>
              <a:gd name="connsiteY10" fmla="*/ 3399870 h 3399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072296" h="3399870">
                <a:moveTo>
                  <a:pt x="5581316" y="0"/>
                </a:moveTo>
                <a:lnTo>
                  <a:pt x="11072296" y="0"/>
                </a:lnTo>
                <a:lnTo>
                  <a:pt x="11072296" y="3399870"/>
                </a:lnTo>
                <a:lnTo>
                  <a:pt x="5581316" y="3399870"/>
                </a:lnTo>
                <a:close/>
                <a:moveTo>
                  <a:pt x="0" y="0"/>
                </a:moveTo>
                <a:lnTo>
                  <a:pt x="5467018" y="0"/>
                </a:lnTo>
                <a:lnTo>
                  <a:pt x="5467018" y="3399870"/>
                </a:lnTo>
                <a:lnTo>
                  <a:pt x="5219482" y="3399870"/>
                </a:lnTo>
                <a:cubicBezTo>
                  <a:pt x="5219482" y="3260694"/>
                  <a:pt x="5106658" y="3147870"/>
                  <a:pt x="4967482" y="3147870"/>
                </a:cubicBezTo>
                <a:cubicBezTo>
                  <a:pt x="4828306" y="3147870"/>
                  <a:pt x="4715482" y="3260694"/>
                  <a:pt x="4715482" y="3399870"/>
                </a:cubicBezTo>
                <a:lnTo>
                  <a:pt x="0" y="33998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463605" cy="2486581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1779" y="609598"/>
            <a:ext cx="6547446" cy="2484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0916EB75-0C2B-C245-90E8-8C1166905B27}"/>
              </a:ext>
            </a:extLst>
          </p:cNvPr>
          <p:cNvSpPr/>
          <p:nvPr userDrawn="1"/>
        </p:nvSpPr>
        <p:spPr>
          <a:xfrm>
            <a:off x="0" y="3429000"/>
            <a:ext cx="12192000" cy="3067050"/>
          </a:xfrm>
          <a:custGeom>
            <a:avLst/>
            <a:gdLst>
              <a:gd name="connsiteX0" fmla="*/ 0 w 12192000"/>
              <a:gd name="connsiteY0" fmla="*/ 0 h 3067050"/>
              <a:gd name="connsiteX1" fmla="*/ 12192000 w 12192000"/>
              <a:gd name="connsiteY1" fmla="*/ 0 h 3067050"/>
              <a:gd name="connsiteX2" fmla="*/ 12192000 w 12192000"/>
              <a:gd name="connsiteY2" fmla="*/ 3067050 h 3067050"/>
              <a:gd name="connsiteX3" fmla="*/ 6348000 w 12192000"/>
              <a:gd name="connsiteY3" fmla="*/ 3067050 h 3067050"/>
              <a:gd name="connsiteX4" fmla="*/ 6096000 w 12192000"/>
              <a:gd name="connsiteY4" fmla="*/ 2815050 h 3067050"/>
              <a:gd name="connsiteX5" fmla="*/ 5844000 w 12192000"/>
              <a:gd name="connsiteY5" fmla="*/ 3067050 h 3067050"/>
              <a:gd name="connsiteX6" fmla="*/ 0 w 12192000"/>
              <a:gd name="connsiteY6" fmla="*/ 3067050 h 306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067050">
                <a:moveTo>
                  <a:pt x="0" y="0"/>
                </a:moveTo>
                <a:lnTo>
                  <a:pt x="12192000" y="0"/>
                </a:lnTo>
                <a:lnTo>
                  <a:pt x="12192000" y="306705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0" y="306705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394856D-8574-4F40-BF87-BB45CD1F09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235609"/>
          </a:xfrm>
          <a:custGeom>
            <a:avLst/>
            <a:gdLst>
              <a:gd name="connsiteX0" fmla="*/ 10064415 w 12192000"/>
              <a:gd name="connsiteY0" fmla="*/ 0 h 5235609"/>
              <a:gd name="connsiteX1" fmla="*/ 12192000 w 12192000"/>
              <a:gd name="connsiteY1" fmla="*/ 0 h 5235609"/>
              <a:gd name="connsiteX2" fmla="*/ 12192000 w 12192000"/>
              <a:gd name="connsiteY2" fmla="*/ 5235609 h 5235609"/>
              <a:gd name="connsiteX3" fmla="*/ 10064415 w 12192000"/>
              <a:gd name="connsiteY3" fmla="*/ 5235609 h 5235609"/>
              <a:gd name="connsiteX4" fmla="*/ 5704893 w 12192000"/>
              <a:gd name="connsiteY4" fmla="*/ 0 h 5235609"/>
              <a:gd name="connsiteX5" fmla="*/ 9950117 w 12192000"/>
              <a:gd name="connsiteY5" fmla="*/ 0 h 5235609"/>
              <a:gd name="connsiteX6" fmla="*/ 9950117 w 12192000"/>
              <a:gd name="connsiteY6" fmla="*/ 5235609 h 5235609"/>
              <a:gd name="connsiteX7" fmla="*/ 5704893 w 12192000"/>
              <a:gd name="connsiteY7" fmla="*/ 5235609 h 5235609"/>
              <a:gd name="connsiteX8" fmla="*/ 0 w 12192000"/>
              <a:gd name="connsiteY8" fmla="*/ 0 h 5235609"/>
              <a:gd name="connsiteX9" fmla="*/ 358774 w 12192000"/>
              <a:gd name="connsiteY9" fmla="*/ 0 h 5235609"/>
              <a:gd name="connsiteX10" fmla="*/ 358774 w 12192000"/>
              <a:gd name="connsiteY10" fmla="*/ 5235609 h 5235609"/>
              <a:gd name="connsiteX11" fmla="*/ 0 w 12192000"/>
              <a:gd name="connsiteY11" fmla="*/ 5235609 h 5235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5235609">
                <a:moveTo>
                  <a:pt x="10064415" y="0"/>
                </a:moveTo>
                <a:lnTo>
                  <a:pt x="12192000" y="0"/>
                </a:lnTo>
                <a:lnTo>
                  <a:pt x="12192000" y="5235609"/>
                </a:lnTo>
                <a:lnTo>
                  <a:pt x="10064415" y="5235609"/>
                </a:lnTo>
                <a:close/>
                <a:moveTo>
                  <a:pt x="5704893" y="0"/>
                </a:moveTo>
                <a:lnTo>
                  <a:pt x="9950117" y="0"/>
                </a:lnTo>
                <a:lnTo>
                  <a:pt x="9950117" y="5235609"/>
                </a:lnTo>
                <a:lnTo>
                  <a:pt x="5704893" y="5235609"/>
                </a:lnTo>
                <a:close/>
                <a:moveTo>
                  <a:pt x="0" y="0"/>
                </a:moveTo>
                <a:lnTo>
                  <a:pt x="358774" y="0"/>
                </a:lnTo>
                <a:lnTo>
                  <a:pt x="358774" y="5235609"/>
                </a:lnTo>
                <a:lnTo>
                  <a:pt x="0" y="52356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4899257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899257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114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91A91C4-155E-E445-A760-2FD007E822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857694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8576943 w 12192000"/>
              <a:gd name="connsiteY3" fmla="*/ 6497638 h 6497638"/>
              <a:gd name="connsiteX4" fmla="*/ 8576943 w 12192000"/>
              <a:gd name="connsiteY4" fmla="*/ 6172200 h 6497638"/>
              <a:gd name="connsiteX5" fmla="*/ 9308426 w 12192000"/>
              <a:gd name="connsiteY5" fmla="*/ 6172200 h 6497638"/>
              <a:gd name="connsiteX6" fmla="*/ 9308426 w 12192000"/>
              <a:gd name="connsiteY6" fmla="*/ 359999 h 6497638"/>
              <a:gd name="connsiteX7" fmla="*/ 8576943 w 12192000"/>
              <a:gd name="connsiteY7" fmla="*/ 359999 h 6497638"/>
              <a:gd name="connsiteX8" fmla="*/ 0 w 12192000"/>
              <a:gd name="connsiteY8" fmla="*/ 0 h 6497638"/>
              <a:gd name="connsiteX9" fmla="*/ 4240697 w 12192000"/>
              <a:gd name="connsiteY9" fmla="*/ 0 h 6497638"/>
              <a:gd name="connsiteX10" fmla="*/ 4240697 w 12192000"/>
              <a:gd name="connsiteY10" fmla="*/ 6497638 h 6497638"/>
              <a:gd name="connsiteX11" fmla="*/ 0 w 12192000"/>
              <a:gd name="connsiteY11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497638">
                <a:moveTo>
                  <a:pt x="857694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8576943" y="6497638"/>
                </a:lnTo>
                <a:lnTo>
                  <a:pt x="8576943" y="6172200"/>
                </a:lnTo>
                <a:lnTo>
                  <a:pt x="9308426" y="6172200"/>
                </a:lnTo>
                <a:lnTo>
                  <a:pt x="9308426" y="359999"/>
                </a:lnTo>
                <a:lnTo>
                  <a:pt x="8576943" y="359999"/>
                </a:lnTo>
                <a:close/>
                <a:moveTo>
                  <a:pt x="0" y="0"/>
                </a:moveTo>
                <a:lnTo>
                  <a:pt x="4240697" y="0"/>
                </a:lnTo>
                <a:lnTo>
                  <a:pt x="4240697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7C419D4-7844-8645-A93F-608B2A31FE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8576943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8576943 w 12192000"/>
              <a:gd name="connsiteY3" fmla="*/ 6498000 h 6498000"/>
              <a:gd name="connsiteX4" fmla="*/ 8576943 w 12192000"/>
              <a:gd name="connsiteY4" fmla="*/ 6172200 h 6498000"/>
              <a:gd name="connsiteX5" fmla="*/ 9308426 w 12192000"/>
              <a:gd name="connsiteY5" fmla="*/ 6172200 h 6498000"/>
              <a:gd name="connsiteX6" fmla="*/ 9308426 w 12192000"/>
              <a:gd name="connsiteY6" fmla="*/ 359999 h 6498000"/>
              <a:gd name="connsiteX7" fmla="*/ 8576943 w 12192000"/>
              <a:gd name="connsiteY7" fmla="*/ 359999 h 6498000"/>
              <a:gd name="connsiteX8" fmla="*/ 0 w 12192000"/>
              <a:gd name="connsiteY8" fmla="*/ 0 h 6498000"/>
              <a:gd name="connsiteX9" fmla="*/ 4240697 w 12192000"/>
              <a:gd name="connsiteY9" fmla="*/ 0 h 6498000"/>
              <a:gd name="connsiteX10" fmla="*/ 4240697 w 12192000"/>
              <a:gd name="connsiteY10" fmla="*/ 6498000 h 6498000"/>
              <a:gd name="connsiteX11" fmla="*/ 0 w 12192000"/>
              <a:gd name="connsiteY11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498000">
                <a:moveTo>
                  <a:pt x="8576943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8576943" y="6498000"/>
                </a:lnTo>
                <a:lnTo>
                  <a:pt x="8576943" y="6172200"/>
                </a:lnTo>
                <a:lnTo>
                  <a:pt x="9308426" y="6172200"/>
                </a:lnTo>
                <a:lnTo>
                  <a:pt x="9308426" y="359999"/>
                </a:lnTo>
                <a:lnTo>
                  <a:pt x="8576943" y="359999"/>
                </a:lnTo>
                <a:close/>
                <a:moveTo>
                  <a:pt x="0" y="0"/>
                </a:moveTo>
                <a:lnTo>
                  <a:pt x="4240697" y="0"/>
                </a:lnTo>
                <a:lnTo>
                  <a:pt x="4240697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1314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2355611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412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453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12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 userDrawn="1"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077E9D1-A8B1-8B46-81B6-87467FA6DF74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621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8894627-2894-814F-8398-5365941924D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37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 userDrawn="1"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 userDrawn="1"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37949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78763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137949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378763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7049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 userDrawn="1"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1D40DCD-D398-D548-8448-8B145EB231B1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4387351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17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bas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218829" cy="28194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800" y="3630706"/>
            <a:ext cx="7519866" cy="2617636"/>
          </a:xfrm>
        </p:spPr>
        <p:txBody>
          <a:bodyPr l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441CA21-943D-B645-97F0-BB8576DD65C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64000" y="0"/>
            <a:ext cx="8128000" cy="3429000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pPr lvl="0"/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CF37DA7-A225-2D4F-A1D7-48F044F913D0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80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323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586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185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2355611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547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1949" y="181938"/>
            <a:ext cx="10799867" cy="86400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195870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lvl="0" indent="0"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marL="0" lvl="0" indent="0">
              <a:buSzPts val="700"/>
            </a:pPr>
            <a:fld id="{EEAD9179-7A6B-4268-BEB2-F3B8EB06115B}" type="slidenum">
              <a:rPr lang="en-US" sz="700" noProof="0" smtClean="0"/>
              <a:pPr marL="0" lvl="0" indent="0">
                <a:buSzPts val="700"/>
              </a:pPr>
              <a:t>‹Nº›</a:t>
            </a:fld>
            <a:endParaRPr lang="en-US" sz="7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5" y="615600"/>
            <a:ext cx="39965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98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3.xml"/><Relationship Id="rId18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323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17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322.xml"/><Relationship Id="rId16" Type="http://schemas.openxmlformats.org/officeDocument/2006/relationships/slideLayout" Target="../slideLayouts/slideLayout336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30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slideLayout" Target="../slideLayouts/slideLayout334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1.xml"/><Relationship Id="rId18" Type="http://schemas.openxmlformats.org/officeDocument/2006/relationships/slideLayout" Target="../slideLayouts/slideLayout356.xml"/><Relationship Id="rId26" Type="http://schemas.openxmlformats.org/officeDocument/2006/relationships/slideLayout" Target="../slideLayouts/slideLayout364.xml"/><Relationship Id="rId39" Type="http://schemas.openxmlformats.org/officeDocument/2006/relationships/slideLayout" Target="../slideLayouts/slideLayout377.xml"/><Relationship Id="rId21" Type="http://schemas.openxmlformats.org/officeDocument/2006/relationships/slideLayout" Target="../slideLayouts/slideLayout359.xml"/><Relationship Id="rId34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45.xml"/><Relationship Id="rId2" Type="http://schemas.openxmlformats.org/officeDocument/2006/relationships/slideLayout" Target="../slideLayouts/slideLayout340.xml"/><Relationship Id="rId16" Type="http://schemas.openxmlformats.org/officeDocument/2006/relationships/slideLayout" Target="../slideLayouts/slideLayout354.xml"/><Relationship Id="rId20" Type="http://schemas.openxmlformats.org/officeDocument/2006/relationships/slideLayout" Target="../slideLayouts/slideLayout358.xml"/><Relationship Id="rId29" Type="http://schemas.openxmlformats.org/officeDocument/2006/relationships/slideLayout" Target="../slideLayouts/slideLayout367.xml"/><Relationship Id="rId41" Type="http://schemas.openxmlformats.org/officeDocument/2006/relationships/image" Target="../media/image1.gif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24" Type="http://schemas.openxmlformats.org/officeDocument/2006/relationships/slideLayout" Target="../slideLayouts/slideLayout362.xml"/><Relationship Id="rId32" Type="http://schemas.openxmlformats.org/officeDocument/2006/relationships/slideLayout" Target="../slideLayouts/slideLayout370.xml"/><Relationship Id="rId37" Type="http://schemas.openxmlformats.org/officeDocument/2006/relationships/slideLayout" Target="../slideLayouts/slideLayout375.xml"/><Relationship Id="rId40" Type="http://schemas.openxmlformats.org/officeDocument/2006/relationships/theme" Target="../theme/theme11.xml"/><Relationship Id="rId5" Type="http://schemas.openxmlformats.org/officeDocument/2006/relationships/slideLayout" Target="../slideLayouts/slideLayout343.xml"/><Relationship Id="rId15" Type="http://schemas.openxmlformats.org/officeDocument/2006/relationships/slideLayout" Target="../slideLayouts/slideLayout353.xml"/><Relationship Id="rId23" Type="http://schemas.openxmlformats.org/officeDocument/2006/relationships/slideLayout" Target="../slideLayouts/slideLayout361.xml"/><Relationship Id="rId28" Type="http://schemas.openxmlformats.org/officeDocument/2006/relationships/slideLayout" Target="../slideLayouts/slideLayout366.xml"/><Relationship Id="rId36" Type="http://schemas.openxmlformats.org/officeDocument/2006/relationships/slideLayout" Target="../slideLayouts/slideLayout374.xml"/><Relationship Id="rId10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57.xml"/><Relationship Id="rId31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52.xml"/><Relationship Id="rId22" Type="http://schemas.openxmlformats.org/officeDocument/2006/relationships/slideLayout" Target="../slideLayouts/slideLayout360.xml"/><Relationship Id="rId27" Type="http://schemas.openxmlformats.org/officeDocument/2006/relationships/slideLayout" Target="../slideLayouts/slideLayout365.xml"/><Relationship Id="rId30" Type="http://schemas.openxmlformats.org/officeDocument/2006/relationships/slideLayout" Target="../slideLayouts/slideLayout368.xml"/><Relationship Id="rId35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50.xml"/><Relationship Id="rId17" Type="http://schemas.openxmlformats.org/officeDocument/2006/relationships/slideLayout" Target="../slideLayouts/slideLayout355.xml"/><Relationship Id="rId25" Type="http://schemas.openxmlformats.org/officeDocument/2006/relationships/slideLayout" Target="../slideLayouts/slideLayout363.xml"/><Relationship Id="rId33" Type="http://schemas.openxmlformats.org/officeDocument/2006/relationships/slideLayout" Target="../slideLayouts/slideLayout371.xml"/><Relationship Id="rId38" Type="http://schemas.openxmlformats.org/officeDocument/2006/relationships/slideLayout" Target="../slideLayouts/slideLayout37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theme" Target="../theme/theme5.xml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8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6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slideLayout" Target="../slideLayouts/slideLayout300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247.xml"/><Relationship Id="rId61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64" Type="http://schemas.openxmlformats.org/officeDocument/2006/relationships/slideLayout" Target="../slideLayouts/slideLayout306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slideLayout" Target="../slideLayouts/slideLayout301.xml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62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Relationship Id="rId60" Type="http://schemas.openxmlformats.org/officeDocument/2006/relationships/slideLayout" Target="../slideLayouts/slideLayout302.xml"/><Relationship Id="rId65" Type="http://schemas.openxmlformats.org/officeDocument/2006/relationships/theme" Target="../theme/theme8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39" Type="http://schemas.openxmlformats.org/officeDocument/2006/relationships/slideLayout" Target="../slideLayouts/slideLayout2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08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311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DE415C6C-5550-408B-A308-B1AD6AF15EBC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03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  <p:sldLayoutId id="2147484092" r:id="rId20"/>
    <p:sldLayoutId id="2147484093" r:id="rId21"/>
    <p:sldLayoutId id="2147484094" r:id="rId22"/>
    <p:sldLayoutId id="2147484095" r:id="rId23"/>
    <p:sldLayoutId id="2147484096" r:id="rId24"/>
    <p:sldLayoutId id="2147484097" r:id="rId25"/>
    <p:sldLayoutId id="2147484098" r:id="rId26"/>
    <p:sldLayoutId id="2147484099" r:id="rId27"/>
    <p:sldLayoutId id="2147484100" r:id="rId28"/>
    <p:sldLayoutId id="2147484101" r:id="rId29"/>
    <p:sldLayoutId id="2147484102" r:id="rId30"/>
    <p:sldLayoutId id="2147484103" r:id="rId31"/>
    <p:sldLayoutId id="2147484104" r:id="rId32"/>
    <p:sldLayoutId id="2147484105" r:id="rId33"/>
    <p:sldLayoutId id="2147484106" r:id="rId34"/>
    <p:sldLayoutId id="2147484107" r:id="rId35"/>
    <p:sldLayoutId id="2147484108" r:id="rId36"/>
    <p:sldLayoutId id="2147484109" r:id="rId37"/>
    <p:sldLayoutId id="2147484110" r:id="rId38"/>
    <p:sldLayoutId id="214748411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4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  <p:sldLayoutId id="214748393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1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38.png"/><Relationship Id="rId5" Type="http://schemas.openxmlformats.org/officeDocument/2006/relationships/image" Target="../media/image47.jpeg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38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7" Type="http://schemas.openxmlformats.org/officeDocument/2006/relationships/image" Target="../media/image37.png"/><Relationship Id="rId2" Type="http://schemas.openxmlformats.org/officeDocument/2006/relationships/audio" Target="../media/media3.wav"/><Relationship Id="rId1" Type="http://schemas.microsoft.com/office/2007/relationships/media" Target="../media/media3.wav"/><Relationship Id="rId6" Type="http://schemas.openxmlformats.org/officeDocument/2006/relationships/image" Target="../media/image49.png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://www.deportestvc/" TargetMode="External"/><Relationship Id="rId1" Type="http://schemas.openxmlformats.org/officeDocument/2006/relationships/slideLayout" Target="../slideLayouts/slideLayout322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microsoft.com/office/2007/relationships/media" Target="../media/media7.mp4"/><Relationship Id="rId7" Type="http://schemas.openxmlformats.org/officeDocument/2006/relationships/image" Target="../media/image56.png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slideLayout" Target="../slideLayouts/slideLayout322.xml"/><Relationship Id="rId10" Type="http://schemas.openxmlformats.org/officeDocument/2006/relationships/image" Target="../media/image59.png"/><Relationship Id="rId4" Type="http://schemas.openxmlformats.org/officeDocument/2006/relationships/video" Target="../media/media7.mp4"/><Relationship Id="rId9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22.xml"/><Relationship Id="rId5" Type="http://schemas.openxmlformats.org/officeDocument/2006/relationships/image" Target="../media/image64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36.sv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1.xml"/><Relationship Id="rId6" Type="http://schemas.openxmlformats.org/officeDocument/2006/relationships/image" Target="../media/image37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2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1.xml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21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2.png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7.pn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audio" Target="../media/media3.wav"/><Relationship Id="rId1" Type="http://schemas.microsoft.com/office/2007/relationships/media" Target="../media/media3.wav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Poppins ExtraLight" pitchFamily="2" charset="77"/>
            </a:endParaRP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D2031C72-5997-F6CD-53A8-3C111E62E0EE}"/>
              </a:ext>
            </a:extLst>
          </p:cNvPr>
          <p:cNvSpPr txBox="1">
            <a:spLocks/>
          </p:cNvSpPr>
          <p:nvPr/>
        </p:nvSpPr>
        <p:spPr>
          <a:xfrm>
            <a:off x="501347" y="296279"/>
            <a:ext cx="67089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Panorama competitivo offline centro</a:t>
            </a:r>
            <a:br>
              <a:rPr lang="es-MX" b="1" dirty="0"/>
            </a:br>
            <a:r>
              <a:rPr lang="es-MX" sz="1600" dirty="0"/>
              <a:t>Ene-Sep 2024, cifras en dólares</a:t>
            </a:r>
            <a:endParaRPr lang="es-MX" b="1" dirty="0"/>
          </a:p>
        </p:txBody>
      </p:sp>
      <p:sp>
        <p:nvSpPr>
          <p:cNvPr id="38" name="Round Same-side Corner of Rectangle 7">
            <a:extLst>
              <a:ext uri="{FF2B5EF4-FFF2-40B4-BE49-F238E27FC236}">
                <a16:creationId xmlns:a16="http://schemas.microsoft.com/office/drawing/2014/main" id="{5A4E380B-F079-357E-BB91-445C2F7373D5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39" name="Group 20">
            <a:extLst>
              <a:ext uri="{FF2B5EF4-FFF2-40B4-BE49-F238E27FC236}">
                <a16:creationId xmlns:a16="http://schemas.microsoft.com/office/drawing/2014/main" id="{3D3AD03D-B216-615F-846B-F8D692363692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40" name="Group 21">
              <a:extLst>
                <a:ext uri="{FF2B5EF4-FFF2-40B4-BE49-F238E27FC236}">
                  <a16:creationId xmlns:a16="http://schemas.microsoft.com/office/drawing/2014/main" id="{8E565FF6-925B-214A-D413-8656BE89BC09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42" name="Oval 33">
                <a:extLst>
                  <a:ext uri="{FF2B5EF4-FFF2-40B4-BE49-F238E27FC236}">
                    <a16:creationId xmlns:a16="http://schemas.microsoft.com/office/drawing/2014/main" id="{80C1517B-7584-14DB-D1C8-F54038200A04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43" name="Graphic 37" descr="Triangle Ruler outline">
                <a:extLst>
                  <a:ext uri="{FF2B5EF4-FFF2-40B4-BE49-F238E27FC236}">
                    <a16:creationId xmlns:a16="http://schemas.microsoft.com/office/drawing/2014/main" id="{B86D7AC3-6A48-80DF-1751-2AC5700620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41" name="TextBox 22">
              <a:extLst>
                <a:ext uri="{FF2B5EF4-FFF2-40B4-BE49-F238E27FC236}">
                  <a16:creationId xmlns:a16="http://schemas.microsoft.com/office/drawing/2014/main" id="{9DDCEBF0-92F6-024A-5BFD-EE2F2B588098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pic>
        <p:nvPicPr>
          <p:cNvPr id="9" name="Picture 4" descr="COMTELCA » mapa colores..">
            <a:extLst>
              <a:ext uri="{FF2B5EF4-FFF2-40B4-BE49-F238E27FC236}">
                <a16:creationId xmlns:a16="http://schemas.microsoft.com/office/drawing/2014/main" id="{2F0BB9A5-B3BC-8B69-87A0-FDDC81259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556" y="598982"/>
            <a:ext cx="6820198" cy="488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ítulo 1">
            <a:extLst>
              <a:ext uri="{FF2B5EF4-FFF2-40B4-BE49-F238E27FC236}">
                <a16:creationId xmlns:a16="http://schemas.microsoft.com/office/drawing/2014/main" id="{0CAD932D-1A6E-CCE5-0188-A498DF7001A1}"/>
              </a:ext>
            </a:extLst>
          </p:cNvPr>
          <p:cNvSpPr txBox="1">
            <a:spLocks/>
          </p:cNvSpPr>
          <p:nvPr/>
        </p:nvSpPr>
        <p:spPr>
          <a:xfrm>
            <a:off x="5693596" y="962503"/>
            <a:ext cx="2401093" cy="15612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 dirty="0"/>
              <a:t>HN</a:t>
            </a:r>
            <a:endParaRPr lang="es-MX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$4.5M, 41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20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74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25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Gripex Plus – 1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73% TV abiert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23% Radi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4% OOH</a:t>
            </a:r>
            <a:endParaRPr lang="es-MX" sz="1400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75EBE643-2CC8-982D-89E4-33858C7D5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Fuente: </a:t>
            </a:r>
            <a:r>
              <a:rPr kumimoji="0" lang="en-GB" sz="800" b="0" i="1" u="none" strike="noStrike" kern="1200" cap="none" spc="0" normalizeH="0" baseline="0" noProof="0" err="1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Estudios</a:t>
            </a: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 locales</a:t>
            </a:r>
          </a:p>
        </p:txBody>
      </p:sp>
    </p:spTree>
    <p:extLst>
      <p:ext uri="{BB962C8B-B14F-4D97-AF65-F5344CB8AC3E}">
        <p14:creationId xmlns:p14="http://schemas.microsoft.com/office/powerpoint/2010/main" val="2026021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Split de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pantalla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 la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r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vist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atutin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La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añan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5, 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16683" y="5267516"/>
            <a:ext cx="55388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: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AS MAÑANAS DEL 5, es una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revist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matuti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que se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nsmite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unes a Viernes de 9 a 12 AM, con audiencia familiar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ero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con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foque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mujeres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25 a 55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s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, amas de casa 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5" y="2792515"/>
            <a:ext cx="277230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comendación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roduc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vé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un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rma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que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o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ermite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ximizar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el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mpac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visual,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ostrand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os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beneficio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 y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comendacione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rc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,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demå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es un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strategi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visualmente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tráctiv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</p:txBody>
      </p:sp>
      <p:pic>
        <p:nvPicPr>
          <p:cNvPr id="24" name="Picture 7">
            <a:hlinkClick r:id="" action="ppaction://media"/>
            <a:extLst>
              <a:ext uri="{FF2B5EF4-FFF2-40B4-BE49-F238E27FC236}">
                <a16:creationId xmlns:a16="http://schemas.microsoft.com/office/drawing/2014/main" id="{E31E2C88-3476-1946-8491-2F47AD1ADFD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2061"/>
          <a:stretch>
            <a:fillRect/>
          </a:stretch>
        </p:blipFill>
        <p:spPr>
          <a:xfrm>
            <a:off x="6296313" y="1719153"/>
            <a:ext cx="5586142" cy="3228508"/>
          </a:xfrm>
          <a:prstGeom prst="rect">
            <a:avLst/>
          </a:prstGeom>
        </p:spPr>
      </p:pic>
      <p:sp>
        <p:nvSpPr>
          <p:cNvPr id="28" name="Title 6">
            <a:extLst>
              <a:ext uri="{FF2B5EF4-FFF2-40B4-BE49-F238E27FC236}">
                <a16:creationId xmlns:a16="http://schemas.microsoft.com/office/drawing/2014/main" id="{C31174B9-BB3D-6448-8B6D-34E3D8D3E649}"/>
              </a:ext>
            </a:extLst>
          </p:cNvPr>
          <p:cNvSpPr txBox="1">
            <a:spLocks/>
          </p:cNvSpPr>
          <p:nvPr/>
        </p:nvSpPr>
        <p:spPr>
          <a:xfrm>
            <a:off x="356047" y="718534"/>
            <a:ext cx="50391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Split de </a:t>
            </a:r>
            <a:r>
              <a:rPr lang="en-GB" dirty="0" err="1">
                <a:solidFill>
                  <a:schemeClr val="tx2"/>
                </a:solidFill>
              </a:rPr>
              <a:t>pantalla</a:t>
            </a:r>
            <a:endParaRPr lang="en-GB" dirty="0"/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D763FF96-D9A1-C741-A019-5717912E5D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892" y="1131722"/>
            <a:ext cx="1305977" cy="76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89313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Cápsu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Cipo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ransmitirs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form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simultáne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o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n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levicentr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horar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rime (7:00 PM) y de lunes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oming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16683" y="5267516"/>
            <a:ext cx="56912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st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psul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snmit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evi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ovel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Canal 5 y de Canal 7 por lo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capar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audiencia Amas de Casa que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esta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lev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m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su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iñ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opon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mbi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arrativ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istori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ar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vari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respec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em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ontad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5" y="2792515"/>
            <a:ext cx="27723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s un storytelling que nos permite  conectar emocionalmente con los padres al mismo tiempo que es divertido y educativo para los niños.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C31174B9-BB3D-6448-8B6D-34E3D8D3E649}"/>
              </a:ext>
            </a:extLst>
          </p:cNvPr>
          <p:cNvSpPr txBox="1">
            <a:spLocks/>
          </p:cNvSpPr>
          <p:nvPr/>
        </p:nvSpPr>
        <p:spPr>
          <a:xfrm>
            <a:off x="356047" y="718534"/>
            <a:ext cx="50391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Capsula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Cipotes</a:t>
            </a:r>
            <a:endParaRPr lang="en-GB" dirty="0">
              <a:solidFill>
                <a:schemeClr val="tx2"/>
              </a:solidFill>
            </a:endParaRPr>
          </a:p>
          <a:p>
            <a:r>
              <a:rPr lang="en-GB" sz="1400" b="1" dirty="0" err="1">
                <a:solidFill>
                  <a:srgbClr val="C00000"/>
                </a:solidFill>
              </a:rPr>
              <a:t>Bonificación</a:t>
            </a:r>
            <a:endParaRPr lang="en-GB" sz="1400" b="1" dirty="0">
              <a:solidFill>
                <a:srgbClr val="C00000"/>
              </a:solidFill>
            </a:endParaRPr>
          </a:p>
        </p:txBody>
      </p:sp>
      <p:pic>
        <p:nvPicPr>
          <p:cNvPr id="11" name="Los Cipotes Tambien Nuevo Comercial (1).mp4" descr="Los Cipotes Tambien Nuevo Comercial (1).mp4">
            <a:hlinkClick r:id="" action="ppaction://media"/>
            <a:extLst>
              <a:ext uri="{FF2B5EF4-FFF2-40B4-BE49-F238E27FC236}">
                <a16:creationId xmlns:a16="http://schemas.microsoft.com/office/drawing/2014/main" id="{65D27501-1F20-2C4A-BF31-E7A4A86BB92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071181" y="1736798"/>
            <a:ext cx="5893702" cy="3312619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D763FF96-D9A1-C741-A019-5717912E5D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892" y="1131722"/>
            <a:ext cx="1305977" cy="76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532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802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Radio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Segmento</a:t>
            </a:r>
            <a:r>
              <a:rPr lang="en-GB" dirty="0">
                <a:solidFill>
                  <a:schemeClr val="tx2"/>
                </a:solidFill>
              </a:rPr>
              <a:t>/</a:t>
            </a:r>
            <a:r>
              <a:rPr lang="en-GB" dirty="0" err="1">
                <a:solidFill>
                  <a:schemeClr val="tx2"/>
                </a:solidFill>
              </a:rPr>
              <a:t>patrocinio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458744"/>
            <a:ext cx="2360836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rticipació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rogram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juveniles con un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lenguaj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loquial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y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laja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utilizan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cenari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su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vid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cotidian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: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cuel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Universidad,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rabaj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o el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deporte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s-HN" sz="1000" dirty="0"/>
              <a:t>pero que debido a un resfriado o gripe, se sienten mal y no pueden cumplir con sus obligaciones y cómo TABCIN les ayuda a </a:t>
            </a:r>
            <a:r>
              <a:rPr lang="es-HN" sz="1000" b="1" dirty="0"/>
              <a:t>recuperarse rápidamente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493460"/>
            <a:ext cx="2391466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rticipació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os morning show de las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misor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juveniles, qu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o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ermita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hacer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tenid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inámic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 a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vé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encion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xpotáne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,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habland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estimonial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al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los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jóven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: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Ejemplo: "A mí me pasó el año pasado: estaba a mitad de los exámenes y no podía quedarme en casa con gripe. ¡Tomé Tabcin GyT] y me sentí mejor en horas! Así que, este año, ya estoy preparado."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6205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misor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orientad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l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segmen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18 a 35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s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" name="DEMO UN SIX PALAS 6">
            <a:hlinkClick r:id="" action="ppaction://media"/>
            <a:extLst>
              <a:ext uri="{FF2B5EF4-FFF2-40B4-BE49-F238E27FC236}">
                <a16:creationId xmlns:a16="http://schemas.microsoft.com/office/drawing/2014/main" id="{25B8E9D5-B91F-4F95-0C94-B77782FDB2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16126" y="3434746"/>
            <a:ext cx="907615" cy="907615"/>
          </a:xfrm>
          <a:prstGeom prst="rect">
            <a:avLst/>
          </a:prstGeom>
        </p:spPr>
      </p:pic>
      <p:pic>
        <p:nvPicPr>
          <p:cNvPr id="33" name="Marcador de posición de imagen 32">
            <a:extLst>
              <a:ext uri="{FF2B5EF4-FFF2-40B4-BE49-F238E27FC236}">
                <a16:creationId xmlns:a16="http://schemas.microsoft.com/office/drawing/2014/main" id="{117942B7-5FB1-5640-914B-3E0FA8121AF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" b="1178"/>
          <a:stretch>
            <a:fillRect/>
          </a:stretch>
        </p:blipFill>
        <p:spPr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4" name="Picture 2" descr="Imagen relacionada">
            <a:extLst>
              <a:ext uri="{FF2B5EF4-FFF2-40B4-BE49-F238E27FC236}">
                <a16:creationId xmlns:a16="http://schemas.microsoft.com/office/drawing/2014/main" id="{35354C46-A1E8-3C44-A9E5-FF66D23B3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674" y="435621"/>
            <a:ext cx="1294919" cy="63058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CFCC1FC9-73C7-0D4B-B99E-F8BFA65624E2}"/>
              </a:ext>
            </a:extLst>
          </p:cNvPr>
          <p:cNvSpPr txBox="1"/>
          <p:nvPr/>
        </p:nvSpPr>
        <p:spPr>
          <a:xfrm>
            <a:off x="5615142" y="1036128"/>
            <a:ext cx="10999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</p:spTree>
    <p:extLst>
      <p:ext uri="{BB962C8B-B14F-4D97-AF65-F5344CB8AC3E}">
        <p14:creationId xmlns:p14="http://schemas.microsoft.com/office/powerpoint/2010/main" val="2652221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709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 err="1"/>
              <a:t>Exteriores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ntalla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digitale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poy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xterior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situa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/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ríod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t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eman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duc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mpora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luvia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ircui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git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sare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uen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aton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foqu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bica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ercan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niversidad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entr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merci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6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flight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5404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opuest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base 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lcanc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(m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ubicacion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)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EDA132D0-5740-6D49-A8B3-5A2FA37C8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070" y="1391816"/>
            <a:ext cx="4879214" cy="4364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960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438809"/>
            <a:ext cx="5039121" cy="1088701"/>
          </a:xfrm>
        </p:spPr>
        <p:txBody>
          <a:bodyPr/>
          <a:lstStyle/>
          <a:p>
            <a:r>
              <a:rPr lang="en-GB" dirty="0"/>
              <a:t>Digital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Non-programmatic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354116" y="4626713"/>
            <a:ext cx="3519051" cy="1497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29592" y="4309606"/>
            <a:ext cx="1840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BANNERS WE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467154" y="4758501"/>
            <a:ext cx="3406013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mrpesiones de banners que se ejecutaran en 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  <a:hlinkClick r:id="rId2"/>
              </a:rPr>
              <a:t>www.deportestvc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buscando promover el clima patrocinando por tabcin previo a cada partido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1138485" y="46138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4157593" y="4678938"/>
            <a:ext cx="3509814" cy="140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4105358" y="4296688"/>
            <a:ext cx="1840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BANNERS WE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4157592" y="4787694"/>
            <a:ext cx="33685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1400" dirty="0">
                <a:solidFill>
                  <a:srgbClr val="0A0F0D"/>
                </a:solidFill>
                <a:latin typeface="Century Gothic"/>
              </a:rPr>
              <a:t>I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presiones de banners que de ejecutaran en los portales web de contenido noticioso de tv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4748258" y="4626713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2" name="Rectangle 12">
            <a:extLst>
              <a:ext uri="{FF2B5EF4-FFF2-40B4-BE49-F238E27FC236}">
                <a16:creationId xmlns:a16="http://schemas.microsoft.com/office/drawing/2014/main" id="{B3067435-7219-D641-B5FB-0199E28E93C8}"/>
              </a:ext>
            </a:extLst>
          </p:cNvPr>
          <p:cNvSpPr/>
          <p:nvPr/>
        </p:nvSpPr>
        <p:spPr>
          <a:xfrm>
            <a:off x="8100606" y="4678938"/>
            <a:ext cx="3506416" cy="14074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BBAF72C-4B7F-D341-8782-A220E0A6A72D}"/>
              </a:ext>
            </a:extLst>
          </p:cNvPr>
          <p:cNvSpPr txBox="1"/>
          <p:nvPr/>
        </p:nvSpPr>
        <p:spPr>
          <a:xfrm>
            <a:off x="8016641" y="4325362"/>
            <a:ext cx="2913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E-mail Mk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54D6867-BD8D-9B4A-AD8B-3F0A2796A6DD}"/>
              </a:ext>
            </a:extLst>
          </p:cNvPr>
          <p:cNvSpPr txBox="1"/>
          <p:nvPr/>
        </p:nvSpPr>
        <p:spPr>
          <a:xfrm>
            <a:off x="8196010" y="4787694"/>
            <a:ext cx="325266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HN" sz="1400" dirty="0">
                <a:solidFill>
                  <a:srgbClr val="0A0F0D"/>
                </a:solidFill>
                <a:latin typeface="Century Gothic"/>
              </a:rPr>
              <a:t>E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-mail marketing a envirase a la base de datos de tunota.com (base 25,000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35" name="Straight Connector 15">
            <a:extLst>
              <a:ext uri="{FF2B5EF4-FFF2-40B4-BE49-F238E27FC236}">
                <a16:creationId xmlns:a16="http://schemas.microsoft.com/office/drawing/2014/main" id="{5F3A2389-5582-E44C-AC6E-FF6887FAA9C0}"/>
              </a:ext>
            </a:extLst>
          </p:cNvPr>
          <p:cNvCxnSpPr/>
          <p:nvPr/>
        </p:nvCxnSpPr>
        <p:spPr>
          <a:xfrm>
            <a:off x="8889043" y="4666406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n 26">
            <a:extLst>
              <a:ext uri="{FF2B5EF4-FFF2-40B4-BE49-F238E27FC236}">
                <a16:creationId xmlns:a16="http://schemas.microsoft.com/office/drawing/2014/main" id="{76470B8C-7962-B547-B21D-6F95D024D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922" y="1302143"/>
            <a:ext cx="1371600" cy="2819400"/>
          </a:xfrm>
          <a:prstGeom prst="rect">
            <a:avLst/>
          </a:prstGeom>
        </p:spPr>
      </p:pic>
      <p:grpSp>
        <p:nvGrpSpPr>
          <p:cNvPr id="28" name="Grupo 27">
            <a:extLst>
              <a:ext uri="{FF2B5EF4-FFF2-40B4-BE49-F238E27FC236}">
                <a16:creationId xmlns:a16="http://schemas.microsoft.com/office/drawing/2014/main" id="{C5982801-FC3A-3447-A202-664B6A1A4F1F}"/>
              </a:ext>
            </a:extLst>
          </p:cNvPr>
          <p:cNvGrpSpPr/>
          <p:nvPr/>
        </p:nvGrpSpPr>
        <p:grpSpPr>
          <a:xfrm>
            <a:off x="5043968" y="1324465"/>
            <a:ext cx="1371600" cy="2869420"/>
            <a:chOff x="5335356" y="1939551"/>
            <a:chExt cx="1371600" cy="2869420"/>
          </a:xfrm>
        </p:grpSpPr>
        <p:pic>
          <p:nvPicPr>
            <p:cNvPr id="29" name="Imagen 28">
              <a:extLst>
                <a:ext uri="{FF2B5EF4-FFF2-40B4-BE49-F238E27FC236}">
                  <a16:creationId xmlns:a16="http://schemas.microsoft.com/office/drawing/2014/main" id="{78DAF656-6FDD-BB47-9207-781E15B86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5356" y="1939551"/>
              <a:ext cx="1371600" cy="2869420"/>
            </a:xfrm>
            <a:prstGeom prst="rect">
              <a:avLst/>
            </a:prstGeom>
          </p:spPr>
        </p:pic>
        <p:pic>
          <p:nvPicPr>
            <p:cNvPr id="30" name="Picture 4" descr="Tabcin">
              <a:extLst>
                <a:ext uri="{FF2B5EF4-FFF2-40B4-BE49-F238E27FC236}">
                  <a16:creationId xmlns:a16="http://schemas.microsoft.com/office/drawing/2014/main" id="{43786452-78C7-4648-AC9C-93CC3EEB00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9001" y="2715997"/>
              <a:ext cx="1253590" cy="1299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1D329793-224B-1148-8FAE-DC7B93E1D3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094" y="1535897"/>
            <a:ext cx="3389448" cy="212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301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438809"/>
            <a:ext cx="5039121" cy="1088701"/>
          </a:xfrm>
        </p:spPr>
        <p:txBody>
          <a:bodyPr>
            <a:normAutofit/>
          </a:bodyPr>
          <a:lstStyle/>
          <a:p>
            <a:r>
              <a:rPr lang="en-GB" dirty="0"/>
              <a:t>Digital</a:t>
            </a:r>
            <a:br>
              <a:rPr lang="en-GB" dirty="0"/>
            </a:br>
            <a:r>
              <a:rPr lang="en-GB" b="1" dirty="0">
                <a:solidFill>
                  <a:srgbClr val="00B0F0"/>
                </a:solidFill>
              </a:rPr>
              <a:t>Influenc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354116" y="4626713"/>
            <a:ext cx="3519051" cy="1497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862862" y="3956030"/>
            <a:ext cx="14734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srgbClr val="00BCFF"/>
                </a:solidFill>
                <a:latin typeface="Poppins-SemiBold"/>
              </a:rPr>
              <a:t>JEAN PAUL 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1138485" y="46138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4157593" y="4678938"/>
            <a:ext cx="3509814" cy="140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4682570" y="4014337"/>
            <a:ext cx="18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LUCIA ZUNIGA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4748258" y="4626713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2" name="Rectangle 12">
            <a:extLst>
              <a:ext uri="{FF2B5EF4-FFF2-40B4-BE49-F238E27FC236}">
                <a16:creationId xmlns:a16="http://schemas.microsoft.com/office/drawing/2014/main" id="{B3067435-7219-D641-B5FB-0199E28E93C8}"/>
              </a:ext>
            </a:extLst>
          </p:cNvPr>
          <p:cNvSpPr/>
          <p:nvPr/>
        </p:nvSpPr>
        <p:spPr>
          <a:xfrm>
            <a:off x="8100606" y="4678938"/>
            <a:ext cx="3506416" cy="14074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BBAF72C-4B7F-D341-8782-A220E0A6A72D}"/>
              </a:ext>
            </a:extLst>
          </p:cNvPr>
          <p:cNvSpPr txBox="1"/>
          <p:nvPr/>
        </p:nvSpPr>
        <p:spPr>
          <a:xfrm>
            <a:off x="8799229" y="4012691"/>
            <a:ext cx="2913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srgbClr val="00BCFF"/>
                </a:solidFill>
                <a:latin typeface="Poppins-SemiBold"/>
              </a:rPr>
              <a:t>CAROLINA LANZA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35" name="Straight Connector 15">
            <a:extLst>
              <a:ext uri="{FF2B5EF4-FFF2-40B4-BE49-F238E27FC236}">
                <a16:creationId xmlns:a16="http://schemas.microsoft.com/office/drawing/2014/main" id="{5F3A2389-5582-E44C-AC6E-FF6887FAA9C0}"/>
              </a:ext>
            </a:extLst>
          </p:cNvPr>
          <p:cNvCxnSpPr/>
          <p:nvPr/>
        </p:nvCxnSpPr>
        <p:spPr>
          <a:xfrm>
            <a:off x="8889043" y="4666406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n 24">
            <a:extLst>
              <a:ext uri="{FF2B5EF4-FFF2-40B4-BE49-F238E27FC236}">
                <a16:creationId xmlns:a16="http://schemas.microsoft.com/office/drawing/2014/main" id="{6404D67A-3483-AE4B-855C-57FDC453C7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56" y="4310330"/>
            <a:ext cx="2471846" cy="1729550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90C1F3DB-3155-604E-873A-AED7D5D119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2154" y="4325362"/>
            <a:ext cx="2473055" cy="1759355"/>
          </a:xfrm>
          <a:prstGeom prst="rect">
            <a:avLst/>
          </a:prstGeom>
        </p:spPr>
      </p:pic>
      <p:pic>
        <p:nvPicPr>
          <p:cNvPr id="3074" name="Picture 2" descr="Carolina Lanza publica intrigante mensaje en redes sociales ¿Deja la TV?">
            <a:extLst>
              <a:ext uri="{FF2B5EF4-FFF2-40B4-BE49-F238E27FC236}">
                <a16:creationId xmlns:a16="http://schemas.microsoft.com/office/drawing/2014/main" id="{0395E393-1415-2046-84CC-E55D3EB94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280" y="1495543"/>
            <a:ext cx="2947341" cy="2331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A9150EBC-5377-0B47-A366-7394F665F4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2527" y="4383669"/>
            <a:ext cx="2394304" cy="1852197"/>
          </a:xfrm>
          <a:prstGeom prst="rect">
            <a:avLst/>
          </a:prstGeom>
        </p:spPr>
      </p:pic>
      <p:pic>
        <p:nvPicPr>
          <p:cNvPr id="19" name="WhatsApp Video 2024-10-28 at 11.27.57 AM.mp4" descr="WhatsApp Video 2024-10-28 at 11.27.57 AM.mp4">
            <a:hlinkClick r:id="" action="ppaction://media"/>
            <a:extLst>
              <a:ext uri="{FF2B5EF4-FFF2-40B4-BE49-F238E27FC236}">
                <a16:creationId xmlns:a16="http://schemas.microsoft.com/office/drawing/2014/main" id="{7DE06123-AC13-0E4F-9972-BE596362031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22291" y="1230779"/>
            <a:ext cx="1542416" cy="2725251"/>
          </a:xfrm>
          <a:prstGeom prst="rect">
            <a:avLst/>
          </a:prstGeom>
        </p:spPr>
      </p:pic>
      <p:pic>
        <p:nvPicPr>
          <p:cNvPr id="24" name="Tabcin #2 Lucía.mp4" descr="Tabcin #2 Lucía.mp4">
            <a:hlinkClick r:id="" action="ppaction://media"/>
            <a:extLst>
              <a:ext uri="{FF2B5EF4-FFF2-40B4-BE49-F238E27FC236}">
                <a16:creationId xmlns:a16="http://schemas.microsoft.com/office/drawing/2014/main" id="{A6B859D9-23E8-4041-82FB-62487798E409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813471" y="1287527"/>
            <a:ext cx="1532954" cy="272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667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240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202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1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Deportes</a:t>
            </a:r>
            <a:r>
              <a:rPr lang="en-GB" dirty="0">
                <a:solidFill>
                  <a:schemeClr val="tx2"/>
                </a:solidFill>
              </a:rPr>
              <a:t> : </a:t>
            </a: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de 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“El </a:t>
            </a:r>
            <a:r>
              <a:rPr lang="en-GB" dirty="0" err="1">
                <a:solidFill>
                  <a:schemeClr val="tx2"/>
                </a:solidFill>
              </a:rPr>
              <a:t>estado</a:t>
            </a:r>
            <a:r>
              <a:rPr lang="en-GB" dirty="0">
                <a:solidFill>
                  <a:schemeClr val="tx2"/>
                </a:solidFill>
              </a:rPr>
              <a:t> del </a:t>
            </a:r>
            <a:r>
              <a:rPr lang="en-GB" dirty="0" err="1">
                <a:solidFill>
                  <a:schemeClr val="tx2"/>
                </a:solidFill>
              </a:rPr>
              <a:t>tiempo</a:t>
            </a:r>
            <a:r>
              <a:rPr lang="en-GB" dirty="0">
                <a:solidFill>
                  <a:schemeClr val="tx2"/>
                </a:solidFill>
              </a:rPr>
              <a:t>”</a:t>
            </a:r>
            <a:endParaRPr lang="en-GB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5" name="Rectangle 8">
            <a:extLst>
              <a:ext uri="{FF2B5EF4-FFF2-40B4-BE49-F238E27FC236}">
                <a16:creationId xmlns:a16="http://schemas.microsoft.com/office/drawing/2014/main" id="{9F812D36-660D-3948-AE3A-E3C7787DF59F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696203A1-E870-E741-BE73-13AFE103967D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45878D89-268D-7343-98AB-94662D061024}"/>
              </a:ext>
            </a:extLst>
          </p:cNvPr>
          <p:cNvSpPr txBox="1"/>
          <p:nvPr/>
        </p:nvSpPr>
        <p:spPr>
          <a:xfrm>
            <a:off x="319303" y="2759685"/>
            <a:ext cx="236083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os partidos de la Liga Nacional atraen a una gran audiencia que incluye diferentes segmentos de edad y perfiles demográficos, lo que asegura que el mensaje llegue a un público amplio.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28" name="Straight Connector 11">
            <a:extLst>
              <a:ext uri="{FF2B5EF4-FFF2-40B4-BE49-F238E27FC236}">
                <a16:creationId xmlns:a16="http://schemas.microsoft.com/office/drawing/2014/main" id="{0F8970E5-4AC4-D249-AF79-D3F21495D4B6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2">
            <a:extLst>
              <a:ext uri="{FF2B5EF4-FFF2-40B4-BE49-F238E27FC236}">
                <a16:creationId xmlns:a16="http://schemas.microsoft.com/office/drawing/2014/main" id="{E492F82C-4F10-BA4B-B456-BF91025BDB1E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0" name="TextBox 13">
            <a:extLst>
              <a:ext uri="{FF2B5EF4-FFF2-40B4-BE49-F238E27FC236}">
                <a16:creationId xmlns:a16="http://schemas.microsoft.com/office/drawing/2014/main" id="{7F08BB01-DE96-A746-B3A5-E7C86E0D8B17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31" name="TextBox 14">
            <a:extLst>
              <a:ext uri="{FF2B5EF4-FFF2-40B4-BE49-F238E27FC236}">
                <a16:creationId xmlns:a16="http://schemas.microsoft.com/office/drawing/2014/main" id="{F664E121-5D6E-C448-90F9-23EA721BB026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HN" sz="1200" dirty="0"/>
              <a:t>Patrocinio del Estado del Tiempo previo a las transmisiones deportivas, lo que permite incorporar el mensaje de manera fluida y sin interrumpir la experiencia del espectador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36" name="Straight Connector 15">
            <a:extLst>
              <a:ext uri="{FF2B5EF4-FFF2-40B4-BE49-F238E27FC236}">
                <a16:creationId xmlns:a16="http://schemas.microsoft.com/office/drawing/2014/main" id="{EBDDF43F-958F-944E-A089-A4158F0AF799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24">
            <a:extLst>
              <a:ext uri="{FF2B5EF4-FFF2-40B4-BE49-F238E27FC236}">
                <a16:creationId xmlns:a16="http://schemas.microsoft.com/office/drawing/2014/main" id="{9D0FAD43-CC46-1840-88E9-F2CC76A0A8A3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B407B1A2-BA17-E546-B519-FB5EBCC7A4CD}"/>
              </a:ext>
            </a:extLst>
          </p:cNvPr>
          <p:cNvSpPr txBox="1"/>
          <p:nvPr/>
        </p:nvSpPr>
        <p:spPr>
          <a:xfrm>
            <a:off x="347715" y="5285093"/>
            <a:ext cx="55404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rtid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iga Nacional son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nsmitid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xclusivament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or TVC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Deport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 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segur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rticipació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os Encuentr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lásic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iga Nacional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DD70A25A-3B7D-5B40-8328-71281FC46FB5}"/>
              </a:ext>
            </a:extLst>
          </p:cNvPr>
          <p:cNvSpPr txBox="1"/>
          <p:nvPr/>
        </p:nvSpPr>
        <p:spPr>
          <a:xfrm>
            <a:off x="6214982" y="4970965"/>
            <a:ext cx="58042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dirty="0"/>
              <a:t>Mención Sugerida:</a:t>
            </a:r>
          </a:p>
          <a:p>
            <a:r>
              <a:rPr lang="es-ES" sz="1200" dirty="0"/>
              <a:t>Aunque el clima cambie, la pasión por la Liga Nacional sigue. </a:t>
            </a:r>
            <a:r>
              <a:rPr lang="es-ES" sz="1200" dirty="0" err="1"/>
              <a:t>Tabcin</a:t>
            </a:r>
            <a:r>
              <a:rPr lang="es-ES" sz="1200" dirty="0"/>
              <a:t> alivio rápido y efectivo de los síntomas de la gripe…</a:t>
            </a:r>
            <a:endParaRPr lang="es-HN" sz="1200" dirty="0"/>
          </a:p>
        </p:txBody>
      </p:sp>
      <p:pic>
        <p:nvPicPr>
          <p:cNvPr id="34" name="WhatsApp Video 2024-11-25 at 9.21.54 AM">
            <a:hlinkClick r:id="" action="ppaction://media"/>
            <a:extLst>
              <a:ext uri="{FF2B5EF4-FFF2-40B4-BE49-F238E27FC236}">
                <a16:creationId xmlns:a16="http://schemas.microsoft.com/office/drawing/2014/main" id="{C4F11B84-6E7B-374C-80E3-D708E85FE8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264546" y="1719153"/>
            <a:ext cx="5184947" cy="3106019"/>
          </a:xfrm>
          <a:prstGeom prst="rect">
            <a:avLst/>
          </a:prstGeom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id="{ABAABEE0-A173-2E4A-9041-E53E5C715499}"/>
              </a:ext>
            </a:extLst>
          </p:cNvPr>
          <p:cNvSpPr txBox="1"/>
          <p:nvPr/>
        </p:nvSpPr>
        <p:spPr>
          <a:xfrm>
            <a:off x="185749" y="50805"/>
            <a:ext cx="2932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b="1" dirty="0">
                <a:solidFill>
                  <a:srgbClr val="C00000"/>
                </a:solidFill>
              </a:rPr>
              <a:t>FUERA DE PRESUPUESTO</a:t>
            </a:r>
          </a:p>
        </p:txBody>
      </p:sp>
    </p:spTree>
    <p:extLst>
      <p:ext uri="{BB962C8B-B14F-4D97-AF65-F5344CB8AC3E}">
        <p14:creationId xmlns:p14="http://schemas.microsoft.com/office/powerpoint/2010/main" val="2028774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4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3BF35842-7F8C-2444-AFE0-044301B569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484" y="-31611"/>
            <a:ext cx="3631504" cy="697248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6" y="566134"/>
            <a:ext cx="6838422" cy="1088701"/>
          </a:xfrm>
        </p:spPr>
        <p:txBody>
          <a:bodyPr/>
          <a:lstStyle/>
          <a:p>
            <a:r>
              <a:rPr lang="en-GB" dirty="0"/>
              <a:t>BTL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Vuelta </a:t>
            </a:r>
            <a:r>
              <a:rPr lang="en-GB" dirty="0" err="1">
                <a:solidFill>
                  <a:schemeClr val="tx2"/>
                </a:solidFill>
              </a:rPr>
              <a:t>ciclística</a:t>
            </a:r>
            <a:r>
              <a:rPr lang="en-GB" dirty="0">
                <a:solidFill>
                  <a:schemeClr val="tx2"/>
                </a:solidFill>
              </a:rPr>
              <a:t> infantile – El </a:t>
            </a:r>
            <a:r>
              <a:rPr lang="en-GB" dirty="0" err="1">
                <a:solidFill>
                  <a:schemeClr val="tx2"/>
                </a:solidFill>
              </a:rPr>
              <a:t>Heraldo</a:t>
            </a:r>
            <a:r>
              <a:rPr lang="en-GB" dirty="0">
                <a:solidFill>
                  <a:schemeClr val="tx2"/>
                </a:solidFill>
              </a:rPr>
              <a:t> </a:t>
            </a:r>
            <a:endParaRPr lang="en-GB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5" name="Rectangle 8">
            <a:extLst>
              <a:ext uri="{FF2B5EF4-FFF2-40B4-BE49-F238E27FC236}">
                <a16:creationId xmlns:a16="http://schemas.microsoft.com/office/drawing/2014/main" id="{9F812D36-660D-3948-AE3A-E3C7787DF59F}"/>
              </a:ext>
            </a:extLst>
          </p:cNvPr>
          <p:cNvSpPr/>
          <p:nvPr/>
        </p:nvSpPr>
        <p:spPr>
          <a:xfrm>
            <a:off x="343369" y="4543025"/>
            <a:ext cx="7775620" cy="154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45878D89-268D-7343-98AB-94662D061024}"/>
              </a:ext>
            </a:extLst>
          </p:cNvPr>
          <p:cNvSpPr txBox="1"/>
          <p:nvPr/>
        </p:nvSpPr>
        <p:spPr>
          <a:xfrm>
            <a:off x="471436" y="5035985"/>
            <a:ext cx="748503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HN" sz="1200" dirty="0">
                <a:effectLst/>
              </a:rPr>
              <a:t>Es un espacio pensado y creado para la familia. Participan aproximadamente 250 niños en 4 categorias : 2-4 años, 5- 6 años , 7-8 años y de 8-10 ˙años. </a:t>
            </a:r>
            <a:endParaRPr lang="es-HN" sz="1200" dirty="0"/>
          </a:p>
          <a:p>
            <a:r>
              <a:rPr lang="es-HN" sz="1200" dirty="0">
                <a:effectLst/>
              </a:rPr>
              <a:t>Se realiza en </a:t>
            </a:r>
            <a:r>
              <a:rPr lang="es-HN" sz="1200" dirty="0"/>
              <a:t>el estacionamiento de un centro comercial </a:t>
            </a:r>
            <a:r>
              <a:rPr lang="es-HN" sz="1200" dirty="0">
                <a:effectLst/>
              </a:rPr>
              <a:t> y se congregan aproxidamente 200 familas.  </a:t>
            </a:r>
          </a:p>
          <a:p>
            <a:r>
              <a:rPr lang="es-HN" sz="1200" kern="0" dirty="0">
                <a:solidFill>
                  <a:srgbClr val="000000"/>
                </a:solidFill>
              </a:rPr>
              <a:t>El evento se desarrolla en el mes de Octubre.</a:t>
            </a:r>
            <a:endParaRPr lang="en-GB" sz="1200" kern="0" dirty="0" err="1">
              <a:solidFill>
                <a:srgbClr val="000000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6ABD94F-3858-FD4B-ABF3-2FC56EBC41F3}"/>
              </a:ext>
            </a:extLst>
          </p:cNvPr>
          <p:cNvSpPr txBox="1"/>
          <p:nvPr/>
        </p:nvSpPr>
        <p:spPr>
          <a:xfrm>
            <a:off x="185749" y="50805"/>
            <a:ext cx="2932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b="1" dirty="0">
                <a:solidFill>
                  <a:srgbClr val="C00000"/>
                </a:solidFill>
              </a:rPr>
              <a:t>FUERA DE PRESUPUESTO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69BA7A2-8ECF-6B43-AA54-2591D83443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69" y="1461510"/>
            <a:ext cx="7775620" cy="2835035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9C096D8E-56DB-4140-B79D-56AC98B965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834" y="365125"/>
            <a:ext cx="1305977" cy="761273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13F6D044-9FD4-9F45-A53B-C8709309E7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69" y="4296545"/>
            <a:ext cx="154305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494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Gripe = Influenza ¿Cuáles son sus síntomas y cómo es su prevención?">
            <a:extLst>
              <a:ext uri="{FF2B5EF4-FFF2-40B4-BE49-F238E27FC236}">
                <a16:creationId xmlns:a16="http://schemas.microsoft.com/office/drawing/2014/main" id="{5627A877-F095-6382-170F-897CCD86EFA6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95" r="20486" b="1681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err="1"/>
              <a:t>Tabcin</a:t>
            </a:r>
            <a:endParaRPr lang="en-GB" sz="4400"/>
          </a:p>
          <a:p>
            <a:pPr lvl="0"/>
            <a:r>
              <a:rPr lang="en-GB" sz="4400"/>
              <a:t>Blueprint 2025</a:t>
            </a:r>
          </a:p>
          <a:p>
            <a:pPr lvl="0"/>
            <a:r>
              <a:rPr lang="en-GB" sz="4400"/>
              <a:t>Centr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A8DD16A8-73D3-FF3C-DA00-5B7032DD8AB4}"/>
              </a:ext>
            </a:extLst>
          </p:cNvPr>
          <p:cNvSpPr txBox="1">
            <a:spLocks/>
          </p:cNvSpPr>
          <p:nvPr/>
        </p:nvSpPr>
        <p:spPr>
          <a:xfrm>
            <a:off x="880868" y="4653492"/>
            <a:ext cx="6574031" cy="7488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5400" b="0" i="0" kern="1200">
                <a:solidFill>
                  <a:schemeClr val="tx1"/>
                </a:solidFill>
                <a:latin typeface="Poppins ExtraLight" pitchFamily="2" charset="77"/>
                <a:ea typeface="+mn-ea"/>
                <a:cs typeface="Poppins ExtraLight" pitchFamily="2" charset="77"/>
              </a:defRPr>
            </a:lvl1pPr>
            <a:lvl2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tabLst/>
              <a:defRPr sz="3600" b="0" i="0" kern="1200">
                <a:solidFill>
                  <a:schemeClr val="bg1"/>
                </a:solidFill>
                <a:latin typeface="+mj-lt"/>
                <a:ea typeface="+mn-ea"/>
                <a:cs typeface="Poppins Medium" pitchFamily="2" charset="77"/>
              </a:defRPr>
            </a:lvl2pPr>
            <a:lvl3pPr marL="0" indent="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3pPr>
            <a:lvl4pPr marL="680400" indent="-32040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4pPr>
            <a:lvl5pPr marL="3055" indent="0" algn="r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j-lt"/>
                <a:ea typeface="+mn-ea"/>
                <a:cs typeface="Poppins" pitchFamily="2" charset="77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3702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+mn-ea"/>
                <a:cs typeface="Poppins SemiBold" pitchFamily="2" charset="77"/>
              </a:rPr>
              <a:t>24/OCT/24</a:t>
            </a:r>
          </a:p>
        </p:txBody>
      </p:sp>
    </p:spTree>
    <p:extLst>
      <p:ext uri="{BB962C8B-B14F-4D97-AF65-F5344CB8AC3E}">
        <p14:creationId xmlns:p14="http://schemas.microsoft.com/office/powerpoint/2010/main" val="1733937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able 9">
            <a:extLst>
              <a:ext uri="{FF2B5EF4-FFF2-40B4-BE49-F238E27FC236}">
                <a16:creationId xmlns:a16="http://schemas.microsoft.com/office/drawing/2014/main" id="{7BF2405B-EC5D-9848-BC2C-9A7148401F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274502"/>
              </p:ext>
            </p:extLst>
          </p:nvPr>
        </p:nvGraphicFramePr>
        <p:xfrm>
          <a:off x="6784067" y="1173029"/>
          <a:ext cx="3350337" cy="2418221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0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23.5K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1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0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375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0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 458 TRP’S 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Inversió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s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etin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par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lanzamient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urant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primer trimester del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añ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3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084434"/>
              </p:ext>
            </p:extLst>
          </p:nvPr>
        </p:nvGraphicFramePr>
        <p:xfrm>
          <a:off x="1502083" y="1221557"/>
          <a:ext cx="3350337" cy="2589275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168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144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4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5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2,286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8 000 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1,228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7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14%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n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e inversion.  Baj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esenci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OTV sin embargo s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xtiend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l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esnci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medio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urant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añ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 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increment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igital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A57FFD86-814E-5B71-A2A9-3E3BE5DB282A}"/>
              </a:ext>
            </a:extLst>
          </p:cNvPr>
          <p:cNvSpPr/>
          <p:nvPr/>
        </p:nvSpPr>
        <p:spPr>
          <a:xfrm rot="5400000">
            <a:off x="5111830" y="236440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5" name="Flecha: a la derecha 64">
            <a:extLst>
              <a:ext uri="{FF2B5EF4-FFF2-40B4-BE49-F238E27FC236}">
                <a16:creationId xmlns:a16="http://schemas.microsoft.com/office/drawing/2014/main" id="{49F30D70-317F-9C75-87CA-072AC36AB77C}"/>
              </a:ext>
            </a:extLst>
          </p:cNvPr>
          <p:cNvSpPr/>
          <p:nvPr/>
        </p:nvSpPr>
        <p:spPr>
          <a:xfrm rot="16200000">
            <a:off x="10405270" y="1668665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8186366"/>
              </p:ext>
            </p:extLst>
          </p:nvPr>
        </p:nvGraphicFramePr>
        <p:xfrm>
          <a:off x="2260814" y="368410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1394731"/>
              </p:ext>
            </p:extLst>
          </p:nvPr>
        </p:nvGraphicFramePr>
        <p:xfrm>
          <a:off x="2260813" y="418128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5974987"/>
              </p:ext>
            </p:extLst>
          </p:nvPr>
        </p:nvGraphicFramePr>
        <p:xfrm>
          <a:off x="2260813" y="4708643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5" name="Gráfico 74">
            <a:extLst>
              <a:ext uri="{FF2B5EF4-FFF2-40B4-BE49-F238E27FC236}">
                <a16:creationId xmlns:a16="http://schemas.microsoft.com/office/drawing/2014/main" id="{213A03C8-BFFF-6A8D-C79A-A9B57A8548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921868"/>
              </p:ext>
            </p:extLst>
          </p:nvPr>
        </p:nvGraphicFramePr>
        <p:xfrm>
          <a:off x="7623599" y="4708643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1447044" y="3947039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BBD1F79-B3DA-2C6D-FE5D-EEC724BE2AF7}"/>
              </a:ext>
            </a:extLst>
          </p:cNvPr>
          <p:cNvSpPr txBox="1">
            <a:spLocks/>
          </p:cNvSpPr>
          <p:nvPr/>
        </p:nvSpPr>
        <p:spPr>
          <a:xfrm>
            <a:off x="6806689" y="3953438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5247767-516A-FD4D-9794-E16325F7BE2D}"/>
              </a:ext>
            </a:extLst>
          </p:cNvPr>
          <p:cNvSpPr txBox="1"/>
          <p:nvPr/>
        </p:nvSpPr>
        <p:spPr>
          <a:xfrm>
            <a:off x="5230310" y="1708406"/>
            <a:ext cx="4459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4%-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2FD0A279-91F8-7B46-990F-5526CEBBB7BF}"/>
              </a:ext>
            </a:extLst>
          </p:cNvPr>
          <p:cNvSpPr txBox="1"/>
          <p:nvPr/>
        </p:nvSpPr>
        <p:spPr>
          <a:xfrm>
            <a:off x="5234805" y="2356022"/>
            <a:ext cx="4764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5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9" name="Flecha: a la derecha 48">
            <a:extLst>
              <a:ext uri="{FF2B5EF4-FFF2-40B4-BE49-F238E27FC236}">
                <a16:creationId xmlns:a16="http://schemas.microsoft.com/office/drawing/2014/main" id="{D2413811-9894-8C42-B031-8A7E9F12FFAB}"/>
              </a:ext>
            </a:extLst>
          </p:cNvPr>
          <p:cNvSpPr/>
          <p:nvPr/>
        </p:nvSpPr>
        <p:spPr>
          <a:xfrm rot="5400000">
            <a:off x="5111830" y="2704540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Flecha: a la derecha 48">
            <a:extLst>
              <a:ext uri="{FF2B5EF4-FFF2-40B4-BE49-F238E27FC236}">
                <a16:creationId xmlns:a16="http://schemas.microsoft.com/office/drawing/2014/main" id="{955C449A-3926-DF4F-AE1F-C8B4FDCA7061}"/>
              </a:ext>
            </a:extLst>
          </p:cNvPr>
          <p:cNvSpPr/>
          <p:nvPr/>
        </p:nvSpPr>
        <p:spPr>
          <a:xfrm rot="16200000">
            <a:off x="10412610" y="2317283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4" name="Flecha: a la derecha 48">
            <a:extLst>
              <a:ext uri="{FF2B5EF4-FFF2-40B4-BE49-F238E27FC236}">
                <a16:creationId xmlns:a16="http://schemas.microsoft.com/office/drawing/2014/main" id="{6B778FDA-7FF0-6F48-8F6A-B4FBC4F1AD70}"/>
              </a:ext>
            </a:extLst>
          </p:cNvPr>
          <p:cNvSpPr/>
          <p:nvPr/>
        </p:nvSpPr>
        <p:spPr>
          <a:xfrm rot="16200000">
            <a:off x="10412610" y="2657418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4" name="Flecha: a la derecha 48">
            <a:extLst>
              <a:ext uri="{FF2B5EF4-FFF2-40B4-BE49-F238E27FC236}">
                <a16:creationId xmlns:a16="http://schemas.microsoft.com/office/drawing/2014/main" id="{26B11AA3-E325-0F49-ADA2-9B62ECEAFD8E}"/>
              </a:ext>
            </a:extLst>
          </p:cNvPr>
          <p:cNvSpPr/>
          <p:nvPr/>
        </p:nvSpPr>
        <p:spPr>
          <a:xfrm rot="5400000">
            <a:off x="5111830" y="166590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5" name="Picture 2" descr="Imagen relacionada">
            <a:extLst>
              <a:ext uri="{FF2B5EF4-FFF2-40B4-BE49-F238E27FC236}">
                <a16:creationId xmlns:a16="http://schemas.microsoft.com/office/drawing/2014/main" id="{F8B4DD52-1CA9-3D4B-B1FE-3D9FE07A1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136" y="789141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5C0EF1C-E795-1442-82B1-B7DC9D777BF1}"/>
              </a:ext>
            </a:extLst>
          </p:cNvPr>
          <p:cNvSpPr txBox="1"/>
          <p:nvPr/>
        </p:nvSpPr>
        <p:spPr>
          <a:xfrm>
            <a:off x="1410136" y="1327247"/>
            <a:ext cx="10999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  <p:pic>
        <p:nvPicPr>
          <p:cNvPr id="46" name="Picture 2" descr="Imagen relacionada">
            <a:extLst>
              <a:ext uri="{FF2B5EF4-FFF2-40B4-BE49-F238E27FC236}">
                <a16:creationId xmlns:a16="http://schemas.microsoft.com/office/drawing/2014/main" id="{9219ABDE-4F36-3048-9B4A-2946BF2EE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122" y="788953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467E2625-9838-C448-B297-7AF1F195B6C5}"/>
              </a:ext>
            </a:extLst>
          </p:cNvPr>
          <p:cNvSpPr txBox="1"/>
          <p:nvPr/>
        </p:nvSpPr>
        <p:spPr>
          <a:xfrm>
            <a:off x="6692122" y="1327059"/>
            <a:ext cx="1099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2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44ADFA1A-A9B8-D4C4-63A2-31B6099564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0093135"/>
              </p:ext>
            </p:extLst>
          </p:nvPr>
        </p:nvGraphicFramePr>
        <p:xfrm>
          <a:off x="4235736" y="3742000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ítulo 1">
            <a:extLst>
              <a:ext uri="{FF2B5EF4-FFF2-40B4-BE49-F238E27FC236}">
                <a16:creationId xmlns:a16="http://schemas.microsoft.com/office/drawing/2014/main" id="{E1111BD8-31F3-EFA4-A82E-12991C4781D9}"/>
              </a:ext>
            </a:extLst>
          </p:cNvPr>
          <p:cNvSpPr txBox="1">
            <a:spLocks/>
          </p:cNvSpPr>
          <p:nvPr/>
        </p:nvSpPr>
        <p:spPr>
          <a:xfrm>
            <a:off x="3418825" y="401133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548B925F-3DC2-A0D0-5E2D-595185642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762A2992-3B45-0846-B0C3-6C35DEA66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2089988"/>
              </p:ext>
            </p:extLst>
          </p:nvPr>
        </p:nvGraphicFramePr>
        <p:xfrm>
          <a:off x="3454421" y="1286910"/>
          <a:ext cx="3350337" cy="2418221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26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6K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1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3,853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2,000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770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6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Concentració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TV, con el 38%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e inversion, 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20" name="Flecha: a la derecha 64">
            <a:extLst>
              <a:ext uri="{FF2B5EF4-FFF2-40B4-BE49-F238E27FC236}">
                <a16:creationId xmlns:a16="http://schemas.microsoft.com/office/drawing/2014/main" id="{784F5596-2C3F-8643-BB31-CB33F20CD1B4}"/>
              </a:ext>
            </a:extLst>
          </p:cNvPr>
          <p:cNvSpPr/>
          <p:nvPr/>
        </p:nvSpPr>
        <p:spPr>
          <a:xfrm rot="5400000">
            <a:off x="7038819" y="1737633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3352788D-B049-C046-B025-B54DFBCD99FB}"/>
              </a:ext>
            </a:extLst>
          </p:cNvPr>
          <p:cNvSpPr txBox="1"/>
          <p:nvPr/>
        </p:nvSpPr>
        <p:spPr>
          <a:xfrm>
            <a:off x="7161685" y="1775405"/>
            <a:ext cx="4764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8%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BC06EF4F-9B1D-BC4E-AF84-1941ACD9C795}"/>
              </a:ext>
            </a:extLst>
          </p:cNvPr>
          <p:cNvSpPr txBox="1"/>
          <p:nvPr/>
        </p:nvSpPr>
        <p:spPr>
          <a:xfrm>
            <a:off x="7113704" y="2483394"/>
            <a:ext cx="4812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40%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4933253-0D4C-CE4A-B8FC-DC7AFD5E98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421" y="1041357"/>
            <a:ext cx="1033217" cy="602277"/>
          </a:xfrm>
          <a:prstGeom prst="rect">
            <a:avLst/>
          </a:prstGeom>
        </p:spPr>
      </p:pic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914B0203-D218-9B4B-BEB8-5D96AE9AEB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4597676"/>
              </p:ext>
            </p:extLst>
          </p:nvPr>
        </p:nvGraphicFramePr>
        <p:xfrm>
          <a:off x="4230409" y="4236064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62FCAA40-B98B-3B40-BE4C-9D85E05DE5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794848"/>
              </p:ext>
            </p:extLst>
          </p:nvPr>
        </p:nvGraphicFramePr>
        <p:xfrm>
          <a:off x="4268128" y="4735100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Flecha: a la derecha 64">
            <a:extLst>
              <a:ext uri="{FF2B5EF4-FFF2-40B4-BE49-F238E27FC236}">
                <a16:creationId xmlns:a16="http://schemas.microsoft.com/office/drawing/2014/main" id="{4C67E9DE-E2A3-F445-967C-92D6F1FBE501}"/>
              </a:ext>
            </a:extLst>
          </p:cNvPr>
          <p:cNvSpPr/>
          <p:nvPr/>
        </p:nvSpPr>
        <p:spPr>
          <a:xfrm rot="5400000">
            <a:off x="7036843" y="2531298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566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5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698550"/>
              </p:ext>
            </p:extLst>
          </p:nvPr>
        </p:nvGraphicFramePr>
        <p:xfrm>
          <a:off x="785261" y="1164073"/>
          <a:ext cx="10863132" cy="4391469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n-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Lo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</a:tbl>
          </a:graphicData>
        </a:graphic>
      </p:graphicFrame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1E65F0F8-B247-91E1-76AA-C5D477BE45D9}"/>
              </a:ext>
            </a:extLst>
          </p:cNvPr>
          <p:cNvSpPr/>
          <p:nvPr/>
        </p:nvSpPr>
        <p:spPr>
          <a:xfrm>
            <a:off x="6339235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0" name="Rounded Rectangle 14">
            <a:extLst>
              <a:ext uri="{FF2B5EF4-FFF2-40B4-BE49-F238E27FC236}">
                <a16:creationId xmlns:a16="http://schemas.microsoft.com/office/drawing/2014/main" id="{327B90DA-B005-26C6-D085-F4A30CE66B4C}"/>
              </a:ext>
            </a:extLst>
          </p:cNvPr>
          <p:cNvSpPr/>
          <p:nvPr/>
        </p:nvSpPr>
        <p:spPr>
          <a:xfrm>
            <a:off x="1811485" y="1874235"/>
            <a:ext cx="2449619" cy="90867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err="1">
                <a:solidFill>
                  <a:srgbClr val="FFFFFF"/>
                </a:solidFill>
              </a:rPr>
              <a:t>Programacion</a:t>
            </a:r>
            <a:r>
              <a:rPr lang="en-GB" sz="800" dirty="0">
                <a:solidFill>
                  <a:srgbClr val="FFFFFF"/>
                </a:solidFill>
              </a:rPr>
              <a:t> regular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" name="Tabla 18">
            <a:extLst>
              <a:ext uri="{FF2B5EF4-FFF2-40B4-BE49-F238E27FC236}">
                <a16:creationId xmlns:a16="http://schemas.microsoft.com/office/drawing/2014/main" id="{AE8C4E33-9965-1E43-B70B-5DD61AB942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30108"/>
              </p:ext>
            </p:extLst>
          </p:nvPr>
        </p:nvGraphicFramePr>
        <p:xfrm>
          <a:off x="1781386" y="753836"/>
          <a:ext cx="9836904" cy="3886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9226">
                  <a:extLst>
                    <a:ext uri="{9D8B030D-6E8A-4147-A177-3AD203B41FA5}">
                      <a16:colId xmlns:a16="http://schemas.microsoft.com/office/drawing/2014/main" val="2223788146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653290101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1874243484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2946413348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308494065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456175578"/>
                    </a:ext>
                  </a:extLst>
                </a:gridCol>
                <a:gridCol w="1639484">
                  <a:extLst>
                    <a:ext uri="{9D8B030D-6E8A-4147-A177-3AD203B41FA5}">
                      <a16:colId xmlns:a16="http://schemas.microsoft.com/office/drawing/2014/main" val="3810859581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489138516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1243723575"/>
                    </a:ext>
                  </a:extLst>
                </a:gridCol>
              </a:tblGrid>
              <a:tr h="302687">
                <a:tc>
                  <a:txBody>
                    <a:bodyPr/>
                    <a:lstStyle/>
                    <a:p>
                      <a:pPr algn="ctr"/>
                      <a:r>
                        <a:rPr lang="es-HN" dirty="0"/>
                        <a:t>Lanzamiento Tabcin Noche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INICIO TEMPROADA DE LLUVIA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Temporada de lluvia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Navidad - FRIO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829624"/>
                  </a:ext>
                </a:extLst>
              </a:tr>
            </a:tbl>
          </a:graphicData>
        </a:graphic>
      </p:graphicFrame>
      <p:graphicFrame>
        <p:nvGraphicFramePr>
          <p:cNvPr id="19" name="Tabla 19">
            <a:extLst>
              <a:ext uri="{FF2B5EF4-FFF2-40B4-BE49-F238E27FC236}">
                <a16:creationId xmlns:a16="http://schemas.microsoft.com/office/drawing/2014/main" id="{0FB6DE29-6522-7A4F-A13A-11E6C4ABAE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361419"/>
              </p:ext>
            </p:extLst>
          </p:nvPr>
        </p:nvGraphicFramePr>
        <p:xfrm>
          <a:off x="4783261" y="5570227"/>
          <a:ext cx="3684010" cy="133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488">
                  <a:extLst>
                    <a:ext uri="{9D8B030D-6E8A-4147-A177-3AD203B41FA5}">
                      <a16:colId xmlns:a16="http://schemas.microsoft.com/office/drawing/2014/main" val="1796883391"/>
                    </a:ext>
                  </a:extLst>
                </a:gridCol>
                <a:gridCol w="751698">
                  <a:extLst>
                    <a:ext uri="{9D8B030D-6E8A-4147-A177-3AD203B41FA5}">
                      <a16:colId xmlns:a16="http://schemas.microsoft.com/office/drawing/2014/main" val="3343880119"/>
                    </a:ext>
                  </a:extLst>
                </a:gridCol>
                <a:gridCol w="696093">
                  <a:extLst>
                    <a:ext uri="{9D8B030D-6E8A-4147-A177-3AD203B41FA5}">
                      <a16:colId xmlns:a16="http://schemas.microsoft.com/office/drawing/2014/main" val="2461997820"/>
                    </a:ext>
                  </a:extLst>
                </a:gridCol>
                <a:gridCol w="696093">
                  <a:extLst>
                    <a:ext uri="{9D8B030D-6E8A-4147-A177-3AD203B41FA5}">
                      <a16:colId xmlns:a16="http://schemas.microsoft.com/office/drawing/2014/main" val="3673851775"/>
                    </a:ext>
                  </a:extLst>
                </a:gridCol>
                <a:gridCol w="500602">
                  <a:extLst>
                    <a:ext uri="{9D8B030D-6E8A-4147-A177-3AD203B41FA5}">
                      <a16:colId xmlns:a16="http://schemas.microsoft.com/office/drawing/2014/main" val="182404475"/>
                    </a:ext>
                  </a:extLst>
                </a:gridCol>
                <a:gridCol w="399036">
                  <a:extLst>
                    <a:ext uri="{9D8B030D-6E8A-4147-A177-3AD203B41FA5}">
                      <a16:colId xmlns:a16="http://schemas.microsoft.com/office/drawing/2014/main" val="2206647489"/>
                    </a:ext>
                  </a:extLst>
                </a:gridCol>
              </a:tblGrid>
              <a:tr h="170754">
                <a:tc>
                  <a:txBody>
                    <a:bodyPr/>
                    <a:lstStyle/>
                    <a:p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Marca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Tabcin GyT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Noche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Niños</a:t>
                      </a:r>
                    </a:p>
                  </a:txBody>
                  <a:tcPr>
                    <a:solidFill>
                      <a:srgbClr val="FF8A2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MIX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783991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TV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96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6.5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6.5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$129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617403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RA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25.4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25.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4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344444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OOH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2.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2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7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029718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DI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1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7.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8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8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547303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b="1" dirty="0"/>
                        <a:t>TOTAL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144.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23.5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6.5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184.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00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366197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endParaRPr lang="es-HN" sz="65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78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3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9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HN" sz="65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HN" sz="65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506048"/>
                  </a:ext>
                </a:extLst>
              </a:tr>
            </a:tbl>
          </a:graphicData>
        </a:graphic>
      </p:graphicFrame>
      <p:pic>
        <p:nvPicPr>
          <p:cNvPr id="95" name="Picture 2" descr="Imagen relacionada">
            <a:extLst>
              <a:ext uri="{FF2B5EF4-FFF2-40B4-BE49-F238E27FC236}">
                <a16:creationId xmlns:a16="http://schemas.microsoft.com/office/drawing/2014/main" id="{3E9BF16B-58CB-7840-8948-5442472B0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173" y="169195"/>
            <a:ext cx="1027289" cy="50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n relacionada">
            <a:extLst>
              <a:ext uri="{FF2B5EF4-FFF2-40B4-BE49-F238E27FC236}">
                <a16:creationId xmlns:a16="http://schemas.microsoft.com/office/drawing/2014/main" id="{342BB388-4771-7E42-A651-8F1F7F742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867" y="169195"/>
            <a:ext cx="1027289" cy="50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ounded Rectangle 14">
            <a:extLst>
              <a:ext uri="{FF2B5EF4-FFF2-40B4-BE49-F238E27FC236}">
                <a16:creationId xmlns:a16="http://schemas.microsoft.com/office/drawing/2014/main" id="{59F53E8A-55F5-3244-8AF3-5B106B8DA58E}"/>
              </a:ext>
            </a:extLst>
          </p:cNvPr>
          <p:cNvSpPr/>
          <p:nvPr/>
        </p:nvSpPr>
        <p:spPr>
          <a:xfrm>
            <a:off x="7963767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6" name="Imagen 105">
            <a:extLst>
              <a:ext uri="{FF2B5EF4-FFF2-40B4-BE49-F238E27FC236}">
                <a16:creationId xmlns:a16="http://schemas.microsoft.com/office/drawing/2014/main" id="{A613C7F8-5899-684F-9130-E88A3CC7C5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4456" y="149927"/>
            <a:ext cx="867676" cy="505781"/>
          </a:xfrm>
          <a:prstGeom prst="rect">
            <a:avLst/>
          </a:prstGeom>
        </p:spPr>
      </p:pic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C591445-9897-894B-ABEE-54D53414D4D8}"/>
              </a:ext>
            </a:extLst>
          </p:cNvPr>
          <p:cNvSpPr/>
          <p:nvPr/>
        </p:nvSpPr>
        <p:spPr>
          <a:xfrm>
            <a:off x="9483351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1" name="Rounded Rectangle 14">
            <a:extLst>
              <a:ext uri="{FF2B5EF4-FFF2-40B4-BE49-F238E27FC236}">
                <a16:creationId xmlns:a16="http://schemas.microsoft.com/office/drawing/2014/main" id="{4D43F76E-7A89-8648-A338-90DC703175FC}"/>
              </a:ext>
            </a:extLst>
          </p:cNvPr>
          <p:cNvSpPr/>
          <p:nvPr/>
        </p:nvSpPr>
        <p:spPr>
          <a:xfrm>
            <a:off x="1811484" y="1625053"/>
            <a:ext cx="9806806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Patrocini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el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m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Rounded Rectangle 14">
            <a:extLst>
              <a:ext uri="{FF2B5EF4-FFF2-40B4-BE49-F238E27FC236}">
                <a16:creationId xmlns:a16="http://schemas.microsoft.com/office/drawing/2014/main" id="{F6EB6A6F-3605-064B-936B-F594DAFF4C98}"/>
              </a:ext>
            </a:extLst>
          </p:cNvPr>
          <p:cNvSpPr/>
          <p:nvPr/>
        </p:nvSpPr>
        <p:spPr>
          <a:xfrm>
            <a:off x="2558912" y="1753324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Rounded Rectangle 14">
            <a:extLst>
              <a:ext uri="{FF2B5EF4-FFF2-40B4-BE49-F238E27FC236}">
                <a16:creationId xmlns:a16="http://schemas.microsoft.com/office/drawing/2014/main" id="{CEDE6947-4AC7-F04F-A515-BE310A9184B9}"/>
              </a:ext>
            </a:extLst>
          </p:cNvPr>
          <p:cNvSpPr/>
          <p:nvPr/>
        </p:nvSpPr>
        <p:spPr>
          <a:xfrm>
            <a:off x="5052176" y="1765080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Rounded Rectangle 14">
            <a:extLst>
              <a:ext uri="{FF2B5EF4-FFF2-40B4-BE49-F238E27FC236}">
                <a16:creationId xmlns:a16="http://schemas.microsoft.com/office/drawing/2014/main" id="{F7AEA14C-4031-BF4E-99E7-3722BCE0DF6D}"/>
              </a:ext>
            </a:extLst>
          </p:cNvPr>
          <p:cNvSpPr/>
          <p:nvPr/>
        </p:nvSpPr>
        <p:spPr>
          <a:xfrm>
            <a:off x="7516903" y="1769088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Rounded Rectangle 14">
            <a:extLst>
              <a:ext uri="{FF2B5EF4-FFF2-40B4-BE49-F238E27FC236}">
                <a16:creationId xmlns:a16="http://schemas.microsoft.com/office/drawing/2014/main" id="{5BDF57A5-0D73-FB4E-B0D4-C6ACD6330486}"/>
              </a:ext>
            </a:extLst>
          </p:cNvPr>
          <p:cNvSpPr/>
          <p:nvPr/>
        </p:nvSpPr>
        <p:spPr>
          <a:xfrm>
            <a:off x="4261104" y="2621538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Rounded Rectangle 14">
            <a:extLst>
              <a:ext uri="{FF2B5EF4-FFF2-40B4-BE49-F238E27FC236}">
                <a16:creationId xmlns:a16="http://schemas.microsoft.com/office/drawing/2014/main" id="{43360A61-2CA5-984A-AD37-A88F00D2E9D5}"/>
              </a:ext>
            </a:extLst>
          </p:cNvPr>
          <p:cNvSpPr/>
          <p:nvPr/>
        </p:nvSpPr>
        <p:spPr>
          <a:xfrm>
            <a:off x="5138928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Rounded Rectangle 14">
            <a:extLst>
              <a:ext uri="{FF2B5EF4-FFF2-40B4-BE49-F238E27FC236}">
                <a16:creationId xmlns:a16="http://schemas.microsoft.com/office/drawing/2014/main" id="{F6347FC3-9510-CC46-BCEA-B58B68037374}"/>
              </a:ext>
            </a:extLst>
          </p:cNvPr>
          <p:cNvSpPr/>
          <p:nvPr/>
        </p:nvSpPr>
        <p:spPr>
          <a:xfrm>
            <a:off x="5917923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Rounded Rectangle 14">
            <a:extLst>
              <a:ext uri="{FF2B5EF4-FFF2-40B4-BE49-F238E27FC236}">
                <a16:creationId xmlns:a16="http://schemas.microsoft.com/office/drawing/2014/main" id="{EE07BE01-564B-2345-AF63-55A6AD067A6E}"/>
              </a:ext>
            </a:extLst>
          </p:cNvPr>
          <p:cNvSpPr/>
          <p:nvPr/>
        </p:nvSpPr>
        <p:spPr>
          <a:xfrm>
            <a:off x="8388741" y="2621538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Rounded Rectangle 14">
            <a:extLst>
              <a:ext uri="{FF2B5EF4-FFF2-40B4-BE49-F238E27FC236}">
                <a16:creationId xmlns:a16="http://schemas.microsoft.com/office/drawing/2014/main" id="{DCDB9AA5-0BF7-9F43-9B55-02C8B5C5FCC8}"/>
              </a:ext>
            </a:extLst>
          </p:cNvPr>
          <p:cNvSpPr/>
          <p:nvPr/>
        </p:nvSpPr>
        <p:spPr>
          <a:xfrm>
            <a:off x="9266565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BB38C3BC-270C-7841-84DB-A415B8F7FED0}"/>
              </a:ext>
            </a:extLst>
          </p:cNvPr>
          <p:cNvSpPr/>
          <p:nvPr/>
        </p:nvSpPr>
        <p:spPr>
          <a:xfrm>
            <a:off x="10045560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Rounded Rectangle 14">
            <a:extLst>
              <a:ext uri="{FF2B5EF4-FFF2-40B4-BE49-F238E27FC236}">
                <a16:creationId xmlns:a16="http://schemas.microsoft.com/office/drawing/2014/main" id="{2733061A-7ED0-7B49-8D9A-4034BE81A27A}"/>
              </a:ext>
            </a:extLst>
          </p:cNvPr>
          <p:cNvSpPr/>
          <p:nvPr/>
        </p:nvSpPr>
        <p:spPr>
          <a:xfrm>
            <a:off x="5138928" y="3048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Rounded Rectangle 14">
            <a:extLst>
              <a:ext uri="{FF2B5EF4-FFF2-40B4-BE49-F238E27FC236}">
                <a16:creationId xmlns:a16="http://schemas.microsoft.com/office/drawing/2014/main" id="{50F4D128-CC02-3648-A724-F9D6C20AE434}"/>
              </a:ext>
            </a:extLst>
          </p:cNvPr>
          <p:cNvSpPr/>
          <p:nvPr/>
        </p:nvSpPr>
        <p:spPr>
          <a:xfrm>
            <a:off x="5917923" y="3048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Rounded Rectangle 14">
            <a:extLst>
              <a:ext uri="{FF2B5EF4-FFF2-40B4-BE49-F238E27FC236}">
                <a16:creationId xmlns:a16="http://schemas.microsoft.com/office/drawing/2014/main" id="{1E78455D-58CE-6A4E-8152-80E133CAEE07}"/>
              </a:ext>
            </a:extLst>
          </p:cNvPr>
          <p:cNvSpPr/>
          <p:nvPr/>
        </p:nvSpPr>
        <p:spPr>
          <a:xfrm>
            <a:off x="8388741" y="3050122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Rounded Rectangle 14">
            <a:extLst>
              <a:ext uri="{FF2B5EF4-FFF2-40B4-BE49-F238E27FC236}">
                <a16:creationId xmlns:a16="http://schemas.microsoft.com/office/drawing/2014/main" id="{46BAC65D-36EF-7041-9372-663FD265B1F3}"/>
              </a:ext>
            </a:extLst>
          </p:cNvPr>
          <p:cNvSpPr/>
          <p:nvPr/>
        </p:nvSpPr>
        <p:spPr>
          <a:xfrm>
            <a:off x="9266565" y="3044508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Rounded Rectangle 14">
            <a:extLst>
              <a:ext uri="{FF2B5EF4-FFF2-40B4-BE49-F238E27FC236}">
                <a16:creationId xmlns:a16="http://schemas.microsoft.com/office/drawing/2014/main" id="{C560202B-E19B-DE47-9493-0C2EC57FF1F0}"/>
              </a:ext>
            </a:extLst>
          </p:cNvPr>
          <p:cNvSpPr/>
          <p:nvPr/>
        </p:nvSpPr>
        <p:spPr>
          <a:xfrm>
            <a:off x="5140683" y="346000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Rounded Rectangle 14">
            <a:extLst>
              <a:ext uri="{FF2B5EF4-FFF2-40B4-BE49-F238E27FC236}">
                <a16:creationId xmlns:a16="http://schemas.microsoft.com/office/drawing/2014/main" id="{F67C3816-29C1-F04D-A10D-4DFB9C505307}"/>
              </a:ext>
            </a:extLst>
          </p:cNvPr>
          <p:cNvSpPr/>
          <p:nvPr/>
        </p:nvSpPr>
        <p:spPr>
          <a:xfrm>
            <a:off x="6752853" y="346000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Rounded Rectangle 14">
            <a:extLst>
              <a:ext uri="{FF2B5EF4-FFF2-40B4-BE49-F238E27FC236}">
                <a16:creationId xmlns:a16="http://schemas.microsoft.com/office/drawing/2014/main" id="{3F7C291E-82C9-184E-8B9D-EB65B00308B5}"/>
              </a:ext>
            </a:extLst>
          </p:cNvPr>
          <p:cNvSpPr/>
          <p:nvPr/>
        </p:nvSpPr>
        <p:spPr>
          <a:xfrm>
            <a:off x="8433583" y="344372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Rounded Rectangle 14">
            <a:extLst>
              <a:ext uri="{FF2B5EF4-FFF2-40B4-BE49-F238E27FC236}">
                <a16:creationId xmlns:a16="http://schemas.microsoft.com/office/drawing/2014/main" id="{0161752A-C23A-5240-BEEB-A985D8962D78}"/>
              </a:ext>
            </a:extLst>
          </p:cNvPr>
          <p:cNvSpPr/>
          <p:nvPr/>
        </p:nvSpPr>
        <p:spPr>
          <a:xfrm>
            <a:off x="9241300" y="3452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Rounded Rectangle 14">
            <a:extLst>
              <a:ext uri="{FF2B5EF4-FFF2-40B4-BE49-F238E27FC236}">
                <a16:creationId xmlns:a16="http://schemas.microsoft.com/office/drawing/2014/main" id="{0495D7AD-83A4-824A-ABBB-13B0C9B90122}"/>
              </a:ext>
            </a:extLst>
          </p:cNvPr>
          <p:cNvSpPr/>
          <p:nvPr/>
        </p:nvSpPr>
        <p:spPr>
          <a:xfrm>
            <a:off x="1811484" y="347361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Rounded Rectangle 14">
            <a:extLst>
              <a:ext uri="{FF2B5EF4-FFF2-40B4-BE49-F238E27FC236}">
                <a16:creationId xmlns:a16="http://schemas.microsoft.com/office/drawing/2014/main" id="{10F72FF9-6030-8246-BDE6-7AB77B5AEEC5}"/>
              </a:ext>
            </a:extLst>
          </p:cNvPr>
          <p:cNvSpPr/>
          <p:nvPr/>
        </p:nvSpPr>
        <p:spPr>
          <a:xfrm>
            <a:off x="2639894" y="3473086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Rounded Rectangle 14">
            <a:extLst>
              <a:ext uri="{FF2B5EF4-FFF2-40B4-BE49-F238E27FC236}">
                <a16:creationId xmlns:a16="http://schemas.microsoft.com/office/drawing/2014/main" id="{B2B79273-C61D-6E4D-B6FE-B1A633238636}"/>
              </a:ext>
            </a:extLst>
          </p:cNvPr>
          <p:cNvSpPr/>
          <p:nvPr/>
        </p:nvSpPr>
        <p:spPr>
          <a:xfrm>
            <a:off x="5115006" y="482664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Rounded Rectangle 14">
            <a:extLst>
              <a:ext uri="{FF2B5EF4-FFF2-40B4-BE49-F238E27FC236}">
                <a16:creationId xmlns:a16="http://schemas.microsoft.com/office/drawing/2014/main" id="{089631F6-FD0E-EE4B-BFE0-8DA775159F02}"/>
              </a:ext>
            </a:extLst>
          </p:cNvPr>
          <p:cNvSpPr/>
          <p:nvPr/>
        </p:nvSpPr>
        <p:spPr>
          <a:xfrm>
            <a:off x="6727176" y="482664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Rounded Rectangle 14">
            <a:extLst>
              <a:ext uri="{FF2B5EF4-FFF2-40B4-BE49-F238E27FC236}">
                <a16:creationId xmlns:a16="http://schemas.microsoft.com/office/drawing/2014/main" id="{ACD03C16-9335-0349-B9AA-5CE3046513B7}"/>
              </a:ext>
            </a:extLst>
          </p:cNvPr>
          <p:cNvSpPr/>
          <p:nvPr/>
        </p:nvSpPr>
        <p:spPr>
          <a:xfrm>
            <a:off x="8407906" y="481036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Rounded Rectangle 14">
            <a:extLst>
              <a:ext uri="{FF2B5EF4-FFF2-40B4-BE49-F238E27FC236}">
                <a16:creationId xmlns:a16="http://schemas.microsoft.com/office/drawing/2014/main" id="{B4422E43-ADCD-3643-9FB1-7E37FBB3C00C}"/>
              </a:ext>
            </a:extLst>
          </p:cNvPr>
          <p:cNvSpPr/>
          <p:nvPr/>
        </p:nvSpPr>
        <p:spPr>
          <a:xfrm>
            <a:off x="9215623" y="4819021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Rounded Rectangle 14">
            <a:extLst>
              <a:ext uri="{FF2B5EF4-FFF2-40B4-BE49-F238E27FC236}">
                <a16:creationId xmlns:a16="http://schemas.microsoft.com/office/drawing/2014/main" id="{F6A8FDB0-738D-0A4D-8A00-D0C36DED0142}"/>
              </a:ext>
            </a:extLst>
          </p:cNvPr>
          <p:cNvSpPr/>
          <p:nvPr/>
        </p:nvSpPr>
        <p:spPr>
          <a:xfrm>
            <a:off x="1785807" y="4840261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Rounded Rectangle 14">
            <a:extLst>
              <a:ext uri="{FF2B5EF4-FFF2-40B4-BE49-F238E27FC236}">
                <a16:creationId xmlns:a16="http://schemas.microsoft.com/office/drawing/2014/main" id="{01BBAB4F-C46F-FB4F-A176-27F35899BF06}"/>
              </a:ext>
            </a:extLst>
          </p:cNvPr>
          <p:cNvSpPr/>
          <p:nvPr/>
        </p:nvSpPr>
        <p:spPr>
          <a:xfrm>
            <a:off x="2614217" y="4839728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50CBD46-51D4-1E40-BFDA-C0CCBF7B6277}"/>
              </a:ext>
            </a:extLst>
          </p:cNvPr>
          <p:cNvSpPr txBox="1"/>
          <p:nvPr/>
        </p:nvSpPr>
        <p:spPr>
          <a:xfrm>
            <a:off x="5443273" y="577008"/>
            <a:ext cx="9492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b="1" dirty="0">
                <a:solidFill>
                  <a:srgbClr val="7030A0"/>
                </a:solidFill>
              </a:rPr>
              <a:t>GRIPE Y TOS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CF6E3E88-31C4-6945-A7AA-FE9A5275DCC2}"/>
              </a:ext>
            </a:extLst>
          </p:cNvPr>
          <p:cNvSpPr txBox="1"/>
          <p:nvPr/>
        </p:nvSpPr>
        <p:spPr>
          <a:xfrm>
            <a:off x="7117166" y="588533"/>
            <a:ext cx="641522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HN" sz="10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001633"/>
              </p:ext>
            </p:extLst>
          </p:nvPr>
        </p:nvGraphicFramePr>
        <p:xfrm>
          <a:off x="8282904" y="2872791"/>
          <a:ext cx="3652078" cy="2930979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nicio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ño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, mayo y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ptiembre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emporada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luvia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?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del </a:t>
                      </a:r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Clima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y </a:t>
                      </a:r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programación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regular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0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1, 025 (3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marca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  <a:tr h="439997">
                <a:tc>
                  <a:txBody>
                    <a:bodyPr/>
                    <a:lstStyle/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lcance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652471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/>
              <a:t>Curvas de </a:t>
            </a:r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P18a44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" name="TextBox 30">
            <a:extLst>
              <a:ext uri="{FF2B5EF4-FFF2-40B4-BE49-F238E27FC236}">
                <a16:creationId xmlns:a16="http://schemas.microsoft.com/office/drawing/2014/main" id="{EF61E2C5-FAD4-7661-6C65-34B1404AE92E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nunciant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de l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con mayo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1541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bajo: 458 Trp´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es altos: 667 Trp´s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20s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385A786A-E9C6-7543-B6B7-6F5B44D82C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1500187"/>
              </p:ext>
            </p:extLst>
          </p:nvPr>
        </p:nvGraphicFramePr>
        <p:xfrm>
          <a:off x="273369" y="2892127"/>
          <a:ext cx="5406422" cy="2776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2" name="CuadroTexto 51">
            <a:extLst>
              <a:ext uri="{FF2B5EF4-FFF2-40B4-BE49-F238E27FC236}">
                <a16:creationId xmlns:a16="http://schemas.microsoft.com/office/drawing/2014/main" id="{2A13738C-BB0F-7D41-AFDC-10FD919C78F6}"/>
              </a:ext>
            </a:extLst>
          </p:cNvPr>
          <p:cNvSpPr txBox="1"/>
          <p:nvPr/>
        </p:nvSpPr>
        <p:spPr>
          <a:xfrm>
            <a:off x="3804841" y="2527891"/>
            <a:ext cx="914401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800" dirty="0"/>
              <a:t>Temporada lluvia</a:t>
            </a:r>
          </a:p>
        </p:txBody>
      </p:sp>
      <p:pic>
        <p:nvPicPr>
          <p:cNvPr id="55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91638F67-2840-0748-8B4F-BC27C805C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07" y="3043215"/>
            <a:ext cx="914401" cy="64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2" descr="HCH Radio | HCH.TV">
            <a:extLst>
              <a:ext uri="{FF2B5EF4-FFF2-40B4-BE49-F238E27FC236}">
                <a16:creationId xmlns:a16="http://schemas.microsoft.com/office/drawing/2014/main" id="{92A10F24-B5F7-2940-9A30-DC86087192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9" r="1179" b="34344"/>
          <a:stretch/>
        </p:blipFill>
        <p:spPr bwMode="auto">
          <a:xfrm>
            <a:off x="6367109" y="3841181"/>
            <a:ext cx="1258996" cy="46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E2D1789-5CA1-1042-A030-885FC505E8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286" y="572363"/>
            <a:ext cx="1055124" cy="467514"/>
          </a:xfrm>
          <a:prstGeom prst="rect">
            <a:avLst/>
          </a:prstGeom>
        </p:spPr>
      </p:pic>
      <p:sp>
        <p:nvSpPr>
          <p:cNvPr id="56" name="CuadroTexto 55">
            <a:extLst>
              <a:ext uri="{FF2B5EF4-FFF2-40B4-BE49-F238E27FC236}">
                <a16:creationId xmlns:a16="http://schemas.microsoft.com/office/drawing/2014/main" id="{AE8442A7-59AE-7042-82CB-C2CE39845409}"/>
              </a:ext>
            </a:extLst>
          </p:cNvPr>
          <p:cNvSpPr txBox="1"/>
          <p:nvPr/>
        </p:nvSpPr>
        <p:spPr>
          <a:xfrm>
            <a:off x="2140277" y="2551986"/>
            <a:ext cx="914401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800" dirty="0"/>
              <a:t>Temporada lluvia</a:t>
            </a:r>
          </a:p>
        </p:txBody>
      </p:sp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de El </a:t>
            </a:r>
            <a:r>
              <a:rPr lang="en-GB" dirty="0" err="1">
                <a:solidFill>
                  <a:schemeClr val="tx2"/>
                </a:solidFill>
              </a:rPr>
              <a:t>clima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El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lima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HCH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tutino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pac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notici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bic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prime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ugar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rman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troci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urant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o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ñ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  <a:endParaRPr kumimoji="0" lang="en-GB" sz="120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295493" y="5338479"/>
            <a:ext cx="56205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: HCH Es un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tal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orientad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l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segmen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opular de 18 a 60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</a:t>
            </a:r>
            <a:r>
              <a:rPr lang="en-GB" sz="1200" kern="0" dirty="0">
                <a:latin typeface="Poppins-SemiBold"/>
              </a:rPr>
              <a:t>. Con el 70% de </a:t>
            </a:r>
            <a:r>
              <a:rPr lang="en-GB" sz="1200" kern="0" dirty="0" err="1">
                <a:latin typeface="Poppins-SemiBold"/>
              </a:rPr>
              <a:t>su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programación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enfocado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en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noticias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6" y="2792515"/>
            <a:ext cx="257438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60% de la pauta en TV de la categoria de antigripales se concentra en el canal HCH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Patrocinio del clima, en este Canal ayuda a incrementar la visibilidad de la marca y contrarresta la competencia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pic>
        <p:nvPicPr>
          <p:cNvPr id="24" name="Picture 2" descr="Imagen relacionada">
            <a:extLst>
              <a:ext uri="{FF2B5EF4-FFF2-40B4-BE49-F238E27FC236}">
                <a16:creationId xmlns:a16="http://schemas.microsoft.com/office/drawing/2014/main" id="{E2BAE8D0-BF74-8842-90C9-3458A828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782" y="941688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6E2923A1-2D05-544A-96B9-FC9254E3E73D}"/>
              </a:ext>
            </a:extLst>
          </p:cNvPr>
          <p:cNvSpPr txBox="1"/>
          <p:nvPr/>
        </p:nvSpPr>
        <p:spPr>
          <a:xfrm>
            <a:off x="5797782" y="1479794"/>
            <a:ext cx="10999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  <p:pic>
        <p:nvPicPr>
          <p:cNvPr id="17" name="VC_50406524246080000 (online-video-cutter.com) (1).mp4" descr="VC_50406524246080000 (online-video-cutter.com) (1).mp4">
            <a:hlinkClick r:id="" action="ppaction://media"/>
            <a:extLst>
              <a:ext uri="{FF2B5EF4-FFF2-40B4-BE49-F238E27FC236}">
                <a16:creationId xmlns:a16="http://schemas.microsoft.com/office/drawing/2014/main" id="{A39EE1FE-856B-A847-9AEC-C9BAC8B6285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123131" y="1719153"/>
            <a:ext cx="5911219" cy="333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190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4530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n</a:t>
            </a:r>
            <a:r>
              <a:rPr lang="en-GB" dirty="0">
                <a:solidFill>
                  <a:schemeClr val="tx2"/>
                </a:solidFill>
              </a:rPr>
              <a:t> La </a:t>
            </a:r>
            <a:r>
              <a:rPr lang="en-GB" dirty="0" err="1">
                <a:solidFill>
                  <a:schemeClr val="tx2"/>
                </a:solidFill>
              </a:rPr>
              <a:t>Voz</a:t>
            </a:r>
            <a:r>
              <a:rPr lang="en-GB" dirty="0">
                <a:solidFill>
                  <a:schemeClr val="tx2"/>
                </a:solidFill>
              </a:rPr>
              <a:t> del Pueblo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6683" y="2474983"/>
            <a:ext cx="2360836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100" dirty="0"/>
              <a:t>Se recomienda un espacio en el que los presentadores salgan a la calle a ofrecer el producto acercando la marca a los consumidores y creando un vínculo emocional fuerte, fomenta la interacción creando  cercanía y confianza,.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34096" y="2534941"/>
            <a:ext cx="23914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segment “L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Voz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Pueblo,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" name="DIGITALIZACION LA VOZ DEL PUEBLO TABCIN.mp4" descr="DIGITALIZACION LA VOZ DEL PUEBLO TABCIN.mp4">
            <a:hlinkClick r:id="" action="ppaction://media"/>
            <a:extLst>
              <a:ext uri="{FF2B5EF4-FFF2-40B4-BE49-F238E27FC236}">
                <a16:creationId xmlns:a16="http://schemas.microsoft.com/office/drawing/2014/main" id="{F320F368-BE05-C54A-A9AA-E5AF099986E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144398" y="1719153"/>
            <a:ext cx="5911219" cy="3330264"/>
          </a:xfrm>
          <a:prstGeom prst="rect">
            <a:avLst/>
          </a:prstGeom>
        </p:spPr>
      </p:pic>
      <p:pic>
        <p:nvPicPr>
          <p:cNvPr id="26" name="Picture 2" descr="Imagen relacionada">
            <a:extLst>
              <a:ext uri="{FF2B5EF4-FFF2-40B4-BE49-F238E27FC236}">
                <a16:creationId xmlns:a16="http://schemas.microsoft.com/office/drawing/2014/main" id="{C34C5263-799B-BC4E-8B3E-CF6010BB7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122" y="788953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F3E3F244-01FD-F44D-9A00-327E6BE9FD6E}"/>
              </a:ext>
            </a:extLst>
          </p:cNvPr>
          <p:cNvSpPr txBox="1"/>
          <p:nvPr/>
        </p:nvSpPr>
        <p:spPr>
          <a:xfrm>
            <a:off x="6692122" y="1327059"/>
            <a:ext cx="1099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2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1287000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338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vent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Se busca  tener presencia en uno de los festivales más importantes del país, donde se concentra un alto tráfico de personas y que se realiza en un mes en donde la temporada de lluvia es fuert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Estos eventos son oportunidades ideales para interactuar con el público, aumentar la visibilidad de la marca y generar conexiones significativas con los consumidores.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Alianz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con uno de los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canale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elevisión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qu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patrocinan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t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ip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vent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y que son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ransmitid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nivel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nacional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: Canal 5 , H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Brande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la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marc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regalan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sombrilla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a los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asistentes</a:t>
            </a:r>
            <a:endParaRPr lang="en-GB" sz="1000" kern="0" dirty="0">
              <a:solidFill>
                <a:srgbClr val="000000"/>
              </a:solidFill>
              <a:latin typeface="Poppins-Regular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RNAVAL DE TEGUCIGALPA - SEP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6205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CH y TVC son l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mpres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elevisiv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trocina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festival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/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rnavales</a:t>
            </a:r>
            <a:r>
              <a:rPr lang="en-GB" sz="1200" kern="0" dirty="0">
                <a:latin typeface="Poppins-SemiBold"/>
              </a:rPr>
              <a:t>, con la </a:t>
            </a:r>
            <a:r>
              <a:rPr lang="en-GB" sz="1200" kern="0" dirty="0" err="1">
                <a:latin typeface="Poppins-SemiBold"/>
              </a:rPr>
              <a:t>participación</a:t>
            </a:r>
            <a:r>
              <a:rPr lang="en-GB" sz="1200" kern="0" dirty="0">
                <a:latin typeface="Poppins-SemiBold"/>
              </a:rPr>
              <a:t> de </a:t>
            </a:r>
            <a:r>
              <a:rPr lang="en-GB" sz="1200" kern="0" dirty="0" err="1">
                <a:latin typeface="Poppins-SemiBold"/>
              </a:rPr>
              <a:t>artistas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internaciones</a:t>
            </a:r>
            <a:r>
              <a:rPr lang="en-GB" sz="1200" kern="0" dirty="0">
                <a:latin typeface="Poppins-SemiBold"/>
              </a:rPr>
              <a:t> .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" name="DEMO UN SIX PALAS 6">
            <a:hlinkClick r:id="" action="ppaction://media"/>
            <a:extLst>
              <a:ext uri="{FF2B5EF4-FFF2-40B4-BE49-F238E27FC236}">
                <a16:creationId xmlns:a16="http://schemas.microsoft.com/office/drawing/2014/main" id="{25B8E9D5-B91F-4F95-0C94-B77782FDB2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116126" y="3434746"/>
            <a:ext cx="907615" cy="907615"/>
          </a:xfrm>
          <a:prstGeom prst="rect">
            <a:avLst/>
          </a:prstGeom>
        </p:spPr>
      </p:pic>
      <p:pic>
        <p:nvPicPr>
          <p:cNvPr id="29" name="Marcador de posición de imagen 28">
            <a:extLst>
              <a:ext uri="{FF2B5EF4-FFF2-40B4-BE49-F238E27FC236}">
                <a16:creationId xmlns:a16="http://schemas.microsoft.com/office/drawing/2014/main" id="{EA67BF10-6AC2-6244-9E9B-E05CFE64017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" b="667"/>
          <a:stretch>
            <a:fillRect/>
          </a:stretch>
        </p:blipFill>
        <p:spPr/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512FF925-02CF-F148-942E-96675A3349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434745"/>
            <a:ext cx="6096000" cy="351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2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709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MC Template // Jan 2021">
  <a:themeElements>
    <a:clrScheme name="Custom 6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DADEE1"/>
      </a:accent3>
      <a:accent4>
        <a:srgbClr val="3FCBB6"/>
      </a:accent4>
      <a:accent5>
        <a:srgbClr val="EDF2F3"/>
      </a:accent5>
      <a:accent6>
        <a:srgbClr val="89D327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http://schemas.openxmlformats.org/package/2006/metadata/core-properti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ddd732a4-5925-4a41-9a76-3e713d750e73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1</TotalTime>
  <Words>1522</Words>
  <Application>Microsoft Macintosh PowerPoint</Application>
  <PresentationFormat>Panorámica</PresentationFormat>
  <Paragraphs>348</Paragraphs>
  <Slides>17</Slides>
  <Notes>8</Notes>
  <HiddenSlides>0</HiddenSlides>
  <MMClips>9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41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Bayer x MC // June 2021</vt:lpstr>
      <vt:lpstr>1_Bayer x MC // June 2021</vt:lpstr>
      <vt:lpstr>Bayer x EM Template</vt:lpstr>
      <vt:lpstr>MC Template // Jan 2021</vt:lpstr>
      <vt:lpstr>think-cell Slide</vt:lpstr>
      <vt:lpstr>Presentación de PowerPoint</vt:lpstr>
      <vt:lpstr>Presentación de PowerPoint</vt:lpstr>
      <vt:lpstr>MEDIA MIX</vt:lpstr>
      <vt:lpstr>MEDIA MIX</vt:lpstr>
      <vt:lpstr>Presentación de PowerPoint</vt:lpstr>
      <vt:lpstr>Curvas de alcance TV, P18a44</vt:lpstr>
      <vt:lpstr>Televisión Patrocinio de El clima</vt:lpstr>
      <vt:lpstr>Televisión Patrocinio en La Voz del Pueblo</vt:lpstr>
      <vt:lpstr>Televisión Patrocinio Eventos</vt:lpstr>
      <vt:lpstr>Presentación de PowerPoint</vt:lpstr>
      <vt:lpstr>Presentación de PowerPoint</vt:lpstr>
      <vt:lpstr>Radio Segmento/patrocinio</vt:lpstr>
      <vt:lpstr>Exteriores Pantallas digitales</vt:lpstr>
      <vt:lpstr>Digital Non-programmatic</vt:lpstr>
      <vt:lpstr>Digital Influencers</vt:lpstr>
      <vt:lpstr>Televisión Deportes : Patrocinio de  “El estado del tiempo”</vt:lpstr>
      <vt:lpstr>BTL Vuelta ciclística infantile – El Heraldo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38</cp:revision>
  <dcterms:created xsi:type="dcterms:W3CDTF">2023-05-24T18:22:33Z</dcterms:created>
  <dcterms:modified xsi:type="dcterms:W3CDTF">2024-11-25T16:4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